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4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6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6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0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3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5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6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7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8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9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0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1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2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3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4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5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21" r:id="rId5"/>
    <p:sldMasterId id="2147483800" r:id="rId6"/>
    <p:sldMasterId id="2147484071" r:id="rId7"/>
    <p:sldMasterId id="2147484083" r:id="rId8"/>
  </p:sldMasterIdLst>
  <p:notesMasterIdLst>
    <p:notesMasterId r:id="rId37"/>
  </p:notesMasterIdLst>
  <p:sldIdLst>
    <p:sldId id="1809" r:id="rId9"/>
    <p:sldId id="1365" r:id="rId10"/>
    <p:sldId id="1885" r:id="rId11"/>
    <p:sldId id="1922" r:id="rId12"/>
    <p:sldId id="1923" r:id="rId13"/>
    <p:sldId id="1924" r:id="rId14"/>
    <p:sldId id="1925" r:id="rId15"/>
    <p:sldId id="1886" r:id="rId16"/>
    <p:sldId id="1926" r:id="rId17"/>
    <p:sldId id="1927" r:id="rId18"/>
    <p:sldId id="1943" r:id="rId19"/>
    <p:sldId id="1929" r:id="rId20"/>
    <p:sldId id="1945" r:id="rId21"/>
    <p:sldId id="1931" r:id="rId22"/>
    <p:sldId id="1887" r:id="rId23"/>
    <p:sldId id="1948" r:id="rId24"/>
    <p:sldId id="1949" r:id="rId25"/>
    <p:sldId id="1934" r:id="rId26"/>
    <p:sldId id="1950" r:id="rId27"/>
    <p:sldId id="1936" r:id="rId28"/>
    <p:sldId id="1937" r:id="rId29"/>
    <p:sldId id="1952" r:id="rId30"/>
    <p:sldId id="1938" r:id="rId31"/>
    <p:sldId id="1904" r:id="rId32"/>
    <p:sldId id="1953" r:id="rId33"/>
    <p:sldId id="1955" r:id="rId34"/>
    <p:sldId id="1956" r:id="rId35"/>
    <p:sldId id="1957" r:id="rId36"/>
  </p:sldIdLst>
  <p:sldSz cx="12193588" cy="6858000"/>
  <p:notesSz cx="6858000" cy="9144000"/>
  <p:custDataLst>
    <p:tags r:id="rId38"/>
  </p:custDataLst>
  <p:defaultTextStyle>
    <a:defPPr>
      <a:defRPr lang="es-CL"/>
    </a:defPPr>
    <a:lvl1pPr marL="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w0gQd+U2SsBsmudlHmGmPA==" hashData="x5nLQMgYP2V7ItWmiAYNBGlJ0AHdmiOjvgxTSQl75pvAFWTkGStKfIPYLVTuY2jAri5WRkewqOtTdBMZ2TR9fw=="/>
  <p:extLst>
    <p:ext uri="{EFAFB233-063F-42B5-8137-9DF3F51BA10A}">
      <p15:sldGuideLst xmlns:p15="http://schemas.microsoft.com/office/powerpoint/2012/main">
        <p15:guide id="8" pos="4113" userDrawn="1">
          <p15:clr>
            <a:srgbClr val="A4A3A4"/>
          </p15:clr>
        </p15:guide>
        <p15:guide id="9" pos="7379" userDrawn="1">
          <p15:clr>
            <a:srgbClr val="A4A3A4"/>
          </p15:clr>
        </p15:guide>
        <p15:guide id="10" pos="302" userDrawn="1">
          <p15:clr>
            <a:srgbClr val="A4A3A4"/>
          </p15:clr>
        </p15:guide>
        <p15:guide id="11" orient="horz" pos="935" userDrawn="1">
          <p15:clr>
            <a:srgbClr val="A4A3A4"/>
          </p15:clr>
        </p15:guide>
        <p15:guide id="12" pos="5882" userDrawn="1">
          <p15:clr>
            <a:srgbClr val="A4A3A4"/>
          </p15:clr>
        </p15:guide>
        <p15:guide id="13" orient="horz" pos="1706" userDrawn="1">
          <p15:clr>
            <a:srgbClr val="A4A3A4"/>
          </p15:clr>
        </p15:guide>
        <p15:guide id="14" orient="horz" pos="2205" userDrawn="1">
          <p15:clr>
            <a:srgbClr val="A4A3A4"/>
          </p15:clr>
        </p15:guide>
        <p15:guide id="15" pos="8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662F"/>
    <a:srgbClr val="15C047"/>
    <a:srgbClr val="E9EADD"/>
    <a:srgbClr val="EAEADE"/>
    <a:srgbClr val="F4F4ED"/>
    <a:srgbClr val="8D004C"/>
    <a:srgbClr val="179188"/>
    <a:srgbClr val="004B54"/>
    <a:srgbClr val="00454C"/>
    <a:srgbClr val="83B8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88801" autoAdjust="0"/>
  </p:normalViewPr>
  <p:slideViewPr>
    <p:cSldViewPr>
      <p:cViewPr varScale="1">
        <p:scale>
          <a:sx n="66" d="100"/>
          <a:sy n="66" d="100"/>
        </p:scale>
        <p:origin x="44" y="52"/>
      </p:cViewPr>
      <p:guideLst>
        <p:guide pos="4113"/>
        <p:guide pos="7379"/>
        <p:guide pos="302"/>
        <p:guide orient="horz" pos="935"/>
        <p:guide pos="5882"/>
        <p:guide orient="horz" pos="1706"/>
        <p:guide orient="horz" pos="2205"/>
        <p:guide pos="892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7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3731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01581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32401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02633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1882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67292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95691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5222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04091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02813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885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96872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21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809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2758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32545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B7CA1-92AC-534A-96DC-E6CBA5CA8CC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4323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B7CA1-92AC-534A-96DC-E6CBA5CA8CC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4209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53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7163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0135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755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9966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2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2636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3.bin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6.bin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7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8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png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jpg"/><Relationship Id="rId4" Type="http://schemas.openxmlformats.org/officeDocument/2006/relationships/image" Target="../media/image3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svg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4.svg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51.xml"/><Relationship Id="rId7" Type="http://schemas.openxmlformats.org/officeDocument/2006/relationships/image" Target="../media/image42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5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3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47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5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6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5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.jp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6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69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0A6E24E-9F3D-5945-98B9-F4261D7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9" y="1709746"/>
            <a:ext cx="10516969" cy="2852737"/>
          </a:xfrm>
        </p:spPr>
        <p:txBody>
          <a:bodyPr anchor="b"/>
          <a:lstStyle>
            <a:lvl1pPr>
              <a:defRPr sz="5992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285529A-2FAE-FA45-819C-1CEC68F4E7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9" y="4589471"/>
            <a:ext cx="10516969" cy="1500187"/>
          </a:xfrm>
        </p:spPr>
        <p:txBody>
          <a:bodyPr/>
          <a:lstStyle>
            <a:lvl1pPr marL="0" indent="0">
              <a:buNone/>
              <a:defRPr sz="2396">
                <a:solidFill>
                  <a:schemeClr val="tx1">
                    <a:tint val="75000"/>
                  </a:schemeClr>
                </a:solidFill>
              </a:defRPr>
            </a:lvl1pPr>
            <a:lvl2pPr marL="456682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3363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3pPr>
            <a:lvl4pPr marL="1370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7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4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B43511E9-EDCD-A34B-9FE9-DAAA96C30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ABAC7FA-7702-2F4A-A839-40CE19267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507B5360-3C90-B74A-9EFC-E5B5B3F9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81051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974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041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13603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9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8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2188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5042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2406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8826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930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orient="horz" pos="834" userDrawn="1">
          <p15:clr>
            <a:srgbClr val="FBAE40"/>
          </p15:clr>
        </p15:guide>
        <p15:guide id="3" orient="horz" pos="1940" userDrawn="1">
          <p15:clr>
            <a:srgbClr val="FBAE40"/>
          </p15:clr>
        </p15:guide>
        <p15:guide id="4" orient="horz" pos="2907" userDrawn="1">
          <p15:clr>
            <a:srgbClr val="FBAE40"/>
          </p15:clr>
        </p15:guide>
        <p15:guide id="5" pos="1146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83B727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6471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478C3A-C42D-5E47-A331-FDE9C71C0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0168E356-9573-F142-B06A-2A0F692227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10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3F42313E-41F7-C642-906F-CC0DD60E04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8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7765427-D403-944B-98D3-7ADDF0B85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4CD0E6C-F286-3D4D-91C9-D0F379E20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1EFCC6C5-06B8-4748-B4D2-66D541770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28823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1972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5331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72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210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4292" userDrawn="1">
          <p15:clr>
            <a:srgbClr val="FBAE40"/>
          </p15:clr>
        </p15:guide>
        <p15:guide id="3" pos="2926" userDrawn="1">
          <p15:clr>
            <a:srgbClr val="FBAE40"/>
          </p15:clr>
        </p15:guide>
        <p15:guide id="4" pos="1561" userDrawn="1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2468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8010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8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0990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7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538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22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5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31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15640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7C9BE3A-C113-F246-861B-ABE569370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365130"/>
            <a:ext cx="10516969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047F12B-21B1-784B-A327-F733D57FFA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8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69E54B02-FA3F-F940-BF3B-610597E71D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9EEA8726-B371-7E42-99BE-CF0F1168A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4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E062E792-6391-B84A-9433-2A8590BF5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4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9D9B00F4-F105-214D-A58B-78C3FA0C5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637FA3A5-63FD-514B-9239-B315A185D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59DF646A-E7D9-774F-8939-D9B9E855C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47555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1855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9255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8255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278228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21292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717822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283608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834608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283563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12213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665EF9D-D16E-A64E-8BD3-09BCB6C62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6BE26EA-A8CD-8842-933F-949D4F4CE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ECF64E7F-F27A-1142-8C95-7AFB1D11D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F67096DC-A03C-FA41-8973-685F21DB0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67958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900751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1096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26184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0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60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D6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4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63076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496863" y="0"/>
            <a:ext cx="734386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83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-1247066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096794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5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495E-6 -3.7037E-7 L 0.2715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6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animBg="1"/>
      <p:bldP spid="15" grpId="0" animBg="1"/>
    </p:bld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6367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0CCCE32A-0599-45EA-B81F-3A370EA4CA18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01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4774" y="0"/>
            <a:ext cx="5088814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702" y="448410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42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EE570241-355A-A344-8F43-B9318B4E1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71C64B54-3E7A-B147-8BBB-269A2940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8B20F085-45C2-DC48-B18A-B019E9B0D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46423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490" y="4406903"/>
            <a:ext cx="10365026" cy="1362075"/>
          </a:xfrm>
          <a:prstGeom prst="rect">
            <a:avLst/>
          </a:prstGeom>
        </p:spPr>
        <p:txBody>
          <a:bodyPr anchor="t"/>
          <a:lstStyle>
            <a:lvl1pPr algn="l">
              <a:defRPr sz="3998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490" y="2906714"/>
            <a:ext cx="10365026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1pPr>
            <a:lvl2pPr marL="45695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39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2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6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3852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1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985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5403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2" y="1535113"/>
            <a:ext cx="538727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2" y="2174875"/>
            <a:ext cx="5387274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19" y="1535113"/>
            <a:ext cx="539044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19" y="2174875"/>
            <a:ext cx="5390448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288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654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5064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3" y="273050"/>
            <a:ext cx="4011091" cy="1162050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44" y="273053"/>
            <a:ext cx="6817425" cy="5853113"/>
          </a:xfrm>
          <a:prstGeom prst="rect">
            <a:avLst/>
          </a:prstGeo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398"/>
            </a:lvl3pPr>
            <a:lvl4pPr>
              <a:defRPr sz="1998"/>
            </a:lvl4pPr>
            <a:lvl5pPr>
              <a:defRPr sz="1998"/>
            </a:lvl5pPr>
            <a:lvl6pPr>
              <a:defRPr sz="1998"/>
            </a:lvl6pPr>
            <a:lvl7pPr>
              <a:defRPr sz="1998"/>
            </a:lvl7pPr>
            <a:lvl8pPr>
              <a:defRPr sz="1998"/>
            </a:lvl8pPr>
            <a:lvl9pPr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3" y="1435102"/>
            <a:ext cx="4011091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232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65" y="4800600"/>
            <a:ext cx="7315836" cy="566738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65" y="612775"/>
            <a:ext cx="7315836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8"/>
            </a:lvl1pPr>
            <a:lvl2pPr marL="456956" indent="0">
              <a:buNone/>
              <a:defRPr sz="2798"/>
            </a:lvl2pPr>
            <a:lvl3pPr marL="913911" indent="0">
              <a:buNone/>
              <a:defRPr sz="2398"/>
            </a:lvl3pPr>
            <a:lvl4pPr marL="1370867" indent="0">
              <a:buNone/>
              <a:defRPr sz="1998"/>
            </a:lvl4pPr>
            <a:lvl5pPr marL="1827822" indent="0">
              <a:buNone/>
              <a:defRPr sz="1998"/>
            </a:lvl5pPr>
            <a:lvl6pPr marL="2284777" indent="0">
              <a:buNone/>
              <a:defRPr sz="1998"/>
            </a:lvl6pPr>
            <a:lvl7pPr marL="2741733" indent="0">
              <a:buNone/>
              <a:defRPr sz="1998"/>
            </a:lvl7pPr>
            <a:lvl8pPr marL="3198689" indent="0">
              <a:buNone/>
              <a:defRPr sz="1998"/>
            </a:lvl8pPr>
            <a:lvl9pPr marL="3655644" indent="0">
              <a:buNone/>
              <a:defRPr sz="1998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65" y="5367338"/>
            <a:ext cx="7315836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396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2" y="1600203"/>
            <a:ext cx="1097454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8566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1224" y="274641"/>
            <a:ext cx="2742843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3" y="274641"/>
            <a:ext cx="8079323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16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7823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612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1B4263E-BE80-E442-93F6-0AB0BCAB5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48DC82D-A5D1-C84D-AF8B-BAEEA0AB83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>
              <a:defRPr sz="3196"/>
            </a:lvl1pPr>
            <a:lvl2pPr>
              <a:defRPr sz="2796"/>
            </a:lvl2pPr>
            <a:lvl3pPr>
              <a:defRPr sz="2396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5C49CC57-C6A1-D54E-8A61-96C007D20E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A9FC915-FFA2-F144-88CF-B754E538C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9DE79E84-07C5-754E-AE37-00592C89C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B4FD8097-72D1-A949-B948-F26A7564C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81085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8915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4545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93156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58925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5236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28678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7982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7165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7085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2797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5CBEC0E-B438-D64A-80A9-C7666B1A2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EA899540-803C-0C43-AA4D-08DD8657E4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 marL="0" indent="0">
              <a:buNone/>
              <a:defRPr sz="3196"/>
            </a:lvl1pPr>
            <a:lvl2pPr marL="456682" indent="0">
              <a:buNone/>
              <a:defRPr sz="2796"/>
            </a:lvl2pPr>
            <a:lvl3pPr marL="913363" indent="0">
              <a:buNone/>
              <a:defRPr sz="2396"/>
            </a:lvl3pPr>
            <a:lvl4pPr marL="1370046" indent="0">
              <a:buNone/>
              <a:defRPr sz="1996"/>
            </a:lvl4pPr>
            <a:lvl5pPr marL="1826726" indent="0">
              <a:buNone/>
              <a:defRPr sz="1996"/>
            </a:lvl5pPr>
            <a:lvl6pPr marL="2283407" indent="0">
              <a:buNone/>
              <a:defRPr sz="1996"/>
            </a:lvl6pPr>
            <a:lvl7pPr marL="2740089" indent="0">
              <a:buNone/>
              <a:defRPr sz="1996"/>
            </a:lvl7pPr>
            <a:lvl8pPr marL="3196769" indent="0">
              <a:buNone/>
              <a:defRPr sz="1996"/>
            </a:lvl8pPr>
            <a:lvl9pPr marL="3653451" indent="0">
              <a:buNone/>
              <a:defRPr sz="1996"/>
            </a:lvl9pPr>
          </a:lstStyle>
          <a:p>
            <a:r>
              <a:rPr lang="es-ES" dirty="0"/>
              <a:t>Haga clic en el icono para agregar una imagen</a:t>
            </a:r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5AA703B4-01BE-2D4E-893C-E3F18C2D1C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9FD8E75-EE75-EE4C-BEE9-2DC365228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93D739B-09F0-8842-8EBF-3B3C6D452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4D000A8-F8A7-4743-A651-998A6DED2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1502204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7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5427" y="2291215"/>
            <a:ext cx="874337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34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9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382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5177791"/>
            <a:ext cx="4261515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979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9318" y="6307025"/>
            <a:ext cx="103979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80" y="1881408"/>
            <a:ext cx="9657385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4103" y="1"/>
            <a:ext cx="2959485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79" y="386738"/>
            <a:ext cx="192307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417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4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0225" y="4046752"/>
            <a:ext cx="3980344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224" y="2413733"/>
            <a:ext cx="398034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216" y="-130002"/>
            <a:ext cx="8863649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832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7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79" y="811343"/>
            <a:ext cx="3975111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79" y="2747718"/>
            <a:ext cx="3496690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706" y="0"/>
            <a:ext cx="738788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946684"/>
            <a:ext cx="1223949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63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94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837" y="2512391"/>
            <a:ext cx="4429915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30549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1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44" y="2512392"/>
            <a:ext cx="4429901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8560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4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636" y="1325118"/>
            <a:ext cx="5341623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636" y="4903910"/>
            <a:ext cx="2138990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80006" y="696192"/>
            <a:ext cx="5955008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636" y="5428822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86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409" y="4868685"/>
            <a:ext cx="5864620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409" y="1989316"/>
            <a:ext cx="7793039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2478" y="5477070"/>
            <a:ext cx="138111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9932" y="367978"/>
            <a:ext cx="122571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048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E4EF53E-0A25-F749-935D-D8D50DE60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2ACBBAE-76E3-1948-BFE6-DD5FAB9F1B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CC26E5AF-D5F5-7745-A119-C4DB5DFF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0220E68-EE97-AE4A-B0E4-6D89252B3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02935D9-2275-AA45-BD21-727B98073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333730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6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71" y="512764"/>
            <a:ext cx="11342577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658760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555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507" y="3099832"/>
            <a:ext cx="11342576" cy="65833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5058" y="4883057"/>
            <a:ext cx="138111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382" y="1033743"/>
            <a:ext cx="9954824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188" y="5297738"/>
            <a:ext cx="1246637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243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47515E44-5580-CE40-8C8A-630A5D991A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40" y="365126"/>
            <a:ext cx="2629243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00493DAB-3F0B-814D-B310-78CA42CE81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6"/>
            <a:ext cx="7735308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4B10D730-F762-A14F-82F1-9AED87002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DC6B97F-F7E5-2D41-8D56-1E7B0A09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81B1FF36-DCD5-0241-97A1-91DED0056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300298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5151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679005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1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tx1"/>
                </a:solidFill>
              </a:rPr>
              <a:t>Asociación</a:t>
            </a:r>
            <a:r>
              <a:rPr sz="1400" dirty="0">
                <a:solidFill>
                  <a:schemeClr val="tx1"/>
                </a:solidFill>
              </a:rPr>
              <a:t> </a:t>
            </a:r>
            <a:r>
              <a:rPr sz="1400" dirty="0" err="1">
                <a:solidFill>
                  <a:schemeClr val="tx1"/>
                </a:solidFill>
              </a:rPr>
              <a:t>Chilena</a:t>
            </a:r>
            <a:r>
              <a:rPr sz="1400" dirty="0">
                <a:solidFill>
                  <a:schemeClr val="tx1"/>
                </a:solidFill>
              </a:rPr>
              <a:t> de </a:t>
            </a:r>
            <a:r>
              <a:rPr sz="1400" dirty="0" err="1">
                <a:solidFill>
                  <a:schemeClr val="tx1"/>
                </a:solidFill>
              </a:rPr>
              <a:t>Seguridad</a:t>
            </a:r>
            <a:endParaRPr sz="1400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2775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6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rgbClr val="106737"/>
                </a:solidFill>
              </a:rPr>
              <a:t>Asociación</a:t>
            </a:r>
            <a:r>
              <a:rPr sz="1400" dirty="0">
                <a:solidFill>
                  <a:srgbClr val="106737"/>
                </a:solidFill>
              </a:rPr>
              <a:t> </a:t>
            </a:r>
            <a:r>
              <a:rPr sz="1400" dirty="0" err="1">
                <a:solidFill>
                  <a:srgbClr val="106737"/>
                </a:solidFill>
              </a:rPr>
              <a:t>Chilena</a:t>
            </a:r>
            <a:r>
              <a:rPr sz="1400" dirty="0">
                <a:solidFill>
                  <a:srgbClr val="106737"/>
                </a:solidFill>
              </a:rPr>
              <a:t> de </a:t>
            </a:r>
            <a:r>
              <a:rPr sz="1400" dirty="0" err="1">
                <a:solidFill>
                  <a:srgbClr val="106737"/>
                </a:solidFill>
              </a:rPr>
              <a:t>Seguridad</a:t>
            </a:r>
            <a:endParaRPr sz="1400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916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5125" userDrawn="1">
          <p15:clr>
            <a:srgbClr val="FBAE40"/>
          </p15:clr>
        </p15:guide>
        <p15:guide id="4" orient="horz" pos="3176" userDrawn="1">
          <p15:clr>
            <a:srgbClr val="FBAE40"/>
          </p15:clr>
        </p15:guide>
        <p15:guide id="5" orient="horz" pos="6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9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bg2"/>
                </a:solidFill>
              </a:rPr>
              <a:t>Asociación</a:t>
            </a:r>
            <a:r>
              <a:rPr sz="1400" dirty="0">
                <a:solidFill>
                  <a:schemeClr val="bg2"/>
                </a:solidFill>
              </a:rPr>
              <a:t> </a:t>
            </a:r>
            <a:r>
              <a:rPr sz="1400" dirty="0" err="1">
                <a:solidFill>
                  <a:schemeClr val="bg2"/>
                </a:solidFill>
              </a:rPr>
              <a:t>Chilena</a:t>
            </a:r>
            <a:r>
              <a:rPr sz="1400" dirty="0">
                <a:solidFill>
                  <a:schemeClr val="bg2"/>
                </a:solidFill>
              </a:rPr>
              <a:t> de </a:t>
            </a:r>
            <a:r>
              <a:rPr sz="1400" dirty="0" err="1">
                <a:solidFill>
                  <a:schemeClr val="bg2"/>
                </a:solidFill>
              </a:rPr>
              <a:t>Seguridad</a:t>
            </a:r>
            <a:endParaRPr sz="1400" dirty="0">
              <a:solidFill>
                <a:schemeClr val="bg2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marL="0" marR="0" indent="0" algn="l" defTabSz="2435572" rtl="0" fontAlgn="auto" latinLnBrk="0" hangingPunct="0">
              <a:lnSpc>
                <a:spcPct val="90000"/>
              </a:lnSpc>
              <a:spcBef>
                <a:spcPts val="4496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4796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6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accent1"/>
                </a:solidFill>
              </a:rPr>
              <a:t>Asociación</a:t>
            </a:r>
            <a:r>
              <a:rPr sz="1400" dirty="0">
                <a:solidFill>
                  <a:schemeClr val="accent1"/>
                </a:solidFill>
              </a:rPr>
              <a:t> </a:t>
            </a:r>
            <a:r>
              <a:rPr sz="1400" dirty="0" err="1">
                <a:solidFill>
                  <a:schemeClr val="accent1"/>
                </a:solidFill>
              </a:rPr>
              <a:t>Chilena</a:t>
            </a:r>
            <a:r>
              <a:rPr sz="1400" dirty="0">
                <a:solidFill>
                  <a:schemeClr val="accent1"/>
                </a:solidFill>
              </a:rPr>
              <a:t> de </a:t>
            </a:r>
            <a:r>
              <a:rPr sz="1400" dirty="0" err="1">
                <a:solidFill>
                  <a:schemeClr val="accent1"/>
                </a:solidFill>
              </a:rPr>
              <a:t>Seguridad</a:t>
            </a:r>
            <a:endParaRPr sz="1400" dirty="0">
              <a:solidFill>
                <a:schemeClr val="accent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79642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493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2736" userDrawn="1">
          <p15:clr>
            <a:srgbClr val="FBAE40"/>
          </p15:clr>
        </p15:guide>
        <p15:guide id="4" pos="2559" userDrawn="1">
          <p15:clr>
            <a:srgbClr val="FBAE40"/>
          </p15:clr>
        </p15:guide>
        <p15:guide id="5" orient="horz" pos="26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0536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=""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9821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087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1522" userDrawn="1">
          <p15:clr>
            <a:srgbClr val="FBAE40"/>
          </p15:clr>
        </p15:guide>
        <p15:guide id="6" orient="horz" pos="2705" userDrawn="1">
          <p15:clr>
            <a:srgbClr val="FBAE40"/>
          </p15:clr>
        </p15:guide>
        <p15:guide id="7" orient="horz" pos="920" userDrawn="1">
          <p15:clr>
            <a:srgbClr val="FBAE40"/>
          </p15:clr>
        </p15:guide>
        <p15:guide id="8" orient="horz" pos="1646" userDrawn="1">
          <p15:clr>
            <a:srgbClr val="FBAE40"/>
          </p15:clr>
        </p15:guide>
        <p15:guide id="9" orient="horz" pos="868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9041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427" userDrawn="1">
          <p15:clr>
            <a:srgbClr val="FBAE40"/>
          </p15:clr>
        </p15:guide>
        <p15:guide id="9" orient="horz" pos="329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28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212" userDrawn="1">
          <p15:clr>
            <a:srgbClr val="FBAE40"/>
          </p15:clr>
        </p15:guide>
        <p15:guide id="5" pos="2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03637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85372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62768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316668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7326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635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0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18524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1645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627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bg>
      <p:bgPr>
        <a:solidFill>
          <a:srgbClr val="0C6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1577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98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/>
              <a:t>Fuente o Pie de página Arial 9</a:t>
            </a:r>
            <a:endParaRPr lang="es-ES_tradn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503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2560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617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8750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93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9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1530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5457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3487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83B8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6668453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619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75946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orient="horz" pos="834" userDrawn="1">
          <p15:clr>
            <a:srgbClr val="FBAE40"/>
          </p15:clr>
        </p15:guide>
        <p15:guide id="4" orient="horz" pos="1940" userDrawn="1">
          <p15:clr>
            <a:srgbClr val="FBAE40"/>
          </p15:clr>
        </p15:guide>
        <p15:guide id="5" orient="horz" pos="2907" userDrawn="1">
          <p15:clr>
            <a:srgbClr val="FBAE40"/>
          </p15:clr>
        </p15:guide>
        <p15:guide id="6" pos="1146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4023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6589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4413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73233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019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4292" userDrawn="1">
          <p15:clr>
            <a:srgbClr val="FBAE40"/>
          </p15:clr>
        </p15:guide>
        <p15:guide id="4" pos="2926" userDrawn="1">
          <p15:clr>
            <a:srgbClr val="FBAE40"/>
          </p15:clr>
        </p15:guide>
        <p15:guide id="5" pos="1561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954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/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98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8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470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7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11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792739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01090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2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1685935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31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6844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787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915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34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50562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18756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27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70161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4517951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23156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31406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532171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6181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597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1207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90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02689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609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1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10673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93885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5125" userDrawn="1">
          <p15:clr>
            <a:srgbClr val="FBAE40"/>
          </p15:clr>
        </p15:guide>
        <p15:guide id="3" orient="horz" pos="3176" userDrawn="1">
          <p15:clr>
            <a:srgbClr val="FBAE40"/>
          </p15:clr>
        </p15:guide>
        <p15:guide id="4" orient="horz" pos="609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defTabSz="2435572" hangingPunct="0">
              <a:lnSpc>
                <a:spcPct val="90000"/>
              </a:lnSpc>
              <a:spcBef>
                <a:spcPts val="4496"/>
              </a:spcBef>
            </a:pPr>
            <a:r>
              <a:rPr lang="es-CL" sz="4796" dirty="0">
                <a:solidFill>
                  <a:srgbClr val="000000"/>
                </a:solidFill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17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FDB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645024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ES_tradn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0857D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algn="ctr" defTabSz="824562" hangingPunct="0"/>
            <a:endParaRPr lang="es-ES_tradn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789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1499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2736" userDrawn="1">
          <p15:clr>
            <a:srgbClr val="FBAE40"/>
          </p15:clr>
        </p15:guide>
        <p15:guide id="3" pos="2559" userDrawn="1">
          <p15:clr>
            <a:srgbClr val="FBAE40"/>
          </p15:clr>
        </p15:guide>
        <p15:guide id="4" orient="horz" pos="262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1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87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4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1208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6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199440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1522" userDrawn="1">
          <p15:clr>
            <a:srgbClr val="FBAE40"/>
          </p15:clr>
        </p15:guide>
        <p15:guide id="4" orient="horz" pos="2705" userDrawn="1">
          <p15:clr>
            <a:srgbClr val="FBAE40"/>
          </p15:clr>
        </p15:guide>
        <p15:guide id="5" orient="horz" pos="920" userDrawn="1">
          <p15:clr>
            <a:srgbClr val="FBAE40"/>
          </p15:clr>
        </p15:guide>
        <p15:guide id="6" orient="horz" pos="1646" userDrawn="1">
          <p15:clr>
            <a:srgbClr val="FBAE40"/>
          </p15:clr>
        </p15:guide>
        <p15:guide id="7" orient="horz" pos="868" userDrawn="1">
          <p15:clr>
            <a:srgbClr val="FBAE40"/>
          </p15:clr>
        </p15:guide>
        <p15:guide id="8" orient="horz" pos="1459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73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27" userDrawn="1">
          <p15:clr>
            <a:srgbClr val="FBAE40"/>
          </p15:clr>
        </p15:guide>
        <p15:guide id="2" orient="horz" pos="3291" userDrawn="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1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74963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12" userDrawn="1">
          <p15:clr>
            <a:srgbClr val="FBAE40"/>
          </p15:clr>
        </p15:guide>
        <p15:guide id="4" pos="251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3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65458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6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53408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970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27FC5C6-A3C9-B245-94AB-13439C597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50" y="-19139"/>
            <a:ext cx="12263906" cy="691757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19171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4906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60586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76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77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48375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2131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8822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326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>
                <a:solidFill>
                  <a:srgbClr val="616161"/>
                </a:solidFill>
              </a:rPr>
              <a:t>Fuente o Pie de página Arial 9</a:t>
            </a:r>
            <a:endParaRPr lang="es-ES_tradnl" dirty="0">
              <a:solidFill>
                <a:srgbClr val="616161"/>
              </a:solidFill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 dirty="0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80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5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117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22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63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69.xml"/><Relationship Id="rId84" Type="http://schemas.openxmlformats.org/officeDocument/2006/relationships/slideLayout" Target="../slideLayouts/slideLayout85.xml"/><Relationship Id="rId89" Type="http://schemas.openxmlformats.org/officeDocument/2006/relationships/slideLayout" Target="../slideLayouts/slideLayout90.xml"/><Relationship Id="rId112" Type="http://schemas.openxmlformats.org/officeDocument/2006/relationships/slideLayout" Target="../slideLayouts/slideLayout113.xml"/><Relationship Id="rId133" Type="http://schemas.openxmlformats.org/officeDocument/2006/relationships/slideLayout" Target="../slideLayouts/slideLayout134.xml"/><Relationship Id="rId138" Type="http://schemas.openxmlformats.org/officeDocument/2006/relationships/image" Target="../media/image1.emf"/><Relationship Id="rId16" Type="http://schemas.openxmlformats.org/officeDocument/2006/relationships/slideLayout" Target="../slideLayouts/slideLayout17.xml"/><Relationship Id="rId107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2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74" Type="http://schemas.openxmlformats.org/officeDocument/2006/relationships/slideLayout" Target="../slideLayouts/slideLayout75.xml"/><Relationship Id="rId79" Type="http://schemas.openxmlformats.org/officeDocument/2006/relationships/slideLayout" Target="../slideLayouts/slideLayout80.xml"/><Relationship Id="rId102" Type="http://schemas.openxmlformats.org/officeDocument/2006/relationships/slideLayout" Target="../slideLayouts/slideLayout103.xml"/><Relationship Id="rId123" Type="http://schemas.openxmlformats.org/officeDocument/2006/relationships/slideLayout" Target="../slideLayouts/slideLayout124.xml"/><Relationship Id="rId128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6.xml"/><Relationship Id="rId90" Type="http://schemas.openxmlformats.org/officeDocument/2006/relationships/slideLayout" Target="../slideLayouts/slideLayout91.xml"/><Relationship Id="rId95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78.xml"/><Relationship Id="rId100" Type="http://schemas.openxmlformats.org/officeDocument/2006/relationships/slideLayout" Target="../slideLayouts/slideLayout101.xml"/><Relationship Id="rId105" Type="http://schemas.openxmlformats.org/officeDocument/2006/relationships/slideLayout" Target="../slideLayouts/slideLayout106.xml"/><Relationship Id="rId113" Type="http://schemas.openxmlformats.org/officeDocument/2006/relationships/slideLayout" Target="../slideLayouts/slideLayout114.xml"/><Relationship Id="rId118" Type="http://schemas.openxmlformats.org/officeDocument/2006/relationships/slideLayout" Target="../slideLayouts/slideLayout119.xml"/><Relationship Id="rId126" Type="http://schemas.openxmlformats.org/officeDocument/2006/relationships/slideLayout" Target="../slideLayouts/slideLayout127.xml"/><Relationship Id="rId134" Type="http://schemas.openxmlformats.org/officeDocument/2006/relationships/theme" Target="../theme/theme2.xml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72" Type="http://schemas.openxmlformats.org/officeDocument/2006/relationships/slideLayout" Target="../slideLayouts/slideLayout73.xml"/><Relationship Id="rId80" Type="http://schemas.openxmlformats.org/officeDocument/2006/relationships/slideLayout" Target="../slideLayouts/slideLayout81.xml"/><Relationship Id="rId85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94.xml"/><Relationship Id="rId98" Type="http://schemas.openxmlformats.org/officeDocument/2006/relationships/slideLayout" Target="../slideLayouts/slideLayout99.xml"/><Relationship Id="rId12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68.xml"/><Relationship Id="rId103" Type="http://schemas.openxmlformats.org/officeDocument/2006/relationships/slideLayout" Target="../slideLayouts/slideLayout104.xml"/><Relationship Id="rId108" Type="http://schemas.openxmlformats.org/officeDocument/2006/relationships/slideLayout" Target="../slideLayouts/slideLayout109.xml"/><Relationship Id="rId116" Type="http://schemas.openxmlformats.org/officeDocument/2006/relationships/slideLayout" Target="../slideLayouts/slideLayout117.xml"/><Relationship Id="rId124" Type="http://schemas.openxmlformats.org/officeDocument/2006/relationships/slideLayout" Target="../slideLayouts/slideLayout125.xml"/><Relationship Id="rId129" Type="http://schemas.openxmlformats.org/officeDocument/2006/relationships/slideLayout" Target="../slideLayouts/slideLayout130.xml"/><Relationship Id="rId137" Type="http://schemas.openxmlformats.org/officeDocument/2006/relationships/oleObject" Target="../embeddings/oleObject2.bin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84.xml"/><Relationship Id="rId88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92.xml"/><Relationship Id="rId96" Type="http://schemas.openxmlformats.org/officeDocument/2006/relationships/slideLayout" Target="../slideLayouts/slideLayout97.xml"/><Relationship Id="rId111" Type="http://schemas.openxmlformats.org/officeDocument/2006/relationships/slideLayout" Target="../slideLayouts/slideLayout112.xml"/><Relationship Id="rId13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6" Type="http://schemas.openxmlformats.org/officeDocument/2006/relationships/slideLayout" Target="../slideLayouts/slideLayout107.xml"/><Relationship Id="rId114" Type="http://schemas.openxmlformats.org/officeDocument/2006/relationships/slideLayout" Target="../slideLayouts/slideLayout115.xml"/><Relationship Id="rId119" Type="http://schemas.openxmlformats.org/officeDocument/2006/relationships/slideLayout" Target="../slideLayouts/slideLayout120.xml"/><Relationship Id="rId12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74.xml"/><Relationship Id="rId78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82.xml"/><Relationship Id="rId86" Type="http://schemas.openxmlformats.org/officeDocument/2006/relationships/slideLayout" Target="../slideLayouts/slideLayout87.xml"/><Relationship Id="rId94" Type="http://schemas.openxmlformats.org/officeDocument/2006/relationships/slideLayout" Target="../slideLayouts/slideLayout95.xml"/><Relationship Id="rId99" Type="http://schemas.openxmlformats.org/officeDocument/2006/relationships/slideLayout" Target="../slideLayouts/slideLayout100.xml"/><Relationship Id="rId101" Type="http://schemas.openxmlformats.org/officeDocument/2006/relationships/slideLayout" Target="../slideLayouts/slideLayout102.xml"/><Relationship Id="rId122" Type="http://schemas.openxmlformats.org/officeDocument/2006/relationships/slideLayout" Target="../slideLayouts/slideLayout123.xml"/><Relationship Id="rId130" Type="http://schemas.openxmlformats.org/officeDocument/2006/relationships/slideLayout" Target="../slideLayouts/slideLayout131.xml"/><Relationship Id="rId135" Type="http://schemas.openxmlformats.org/officeDocument/2006/relationships/vmlDrawing" Target="../drawings/vmlDrawing2.v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Relationship Id="rId109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35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76" Type="http://schemas.openxmlformats.org/officeDocument/2006/relationships/slideLayout" Target="../slideLayouts/slideLayout77.xml"/><Relationship Id="rId97" Type="http://schemas.openxmlformats.org/officeDocument/2006/relationships/slideLayout" Target="../slideLayouts/slideLayout98.xml"/><Relationship Id="rId104" Type="http://schemas.openxmlformats.org/officeDocument/2006/relationships/slideLayout" Target="../slideLayouts/slideLayout105.xml"/><Relationship Id="rId120" Type="http://schemas.openxmlformats.org/officeDocument/2006/relationships/slideLayout" Target="../slideLayouts/slideLayout121.xml"/><Relationship Id="rId125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8.xml"/><Relationship Id="rId71" Type="http://schemas.openxmlformats.org/officeDocument/2006/relationships/slideLayout" Target="../slideLayouts/slideLayout72.xml"/><Relationship Id="rId9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3.xml"/><Relationship Id="rId29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25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66" Type="http://schemas.openxmlformats.org/officeDocument/2006/relationships/slideLayout" Target="../slideLayouts/slideLayout67.xml"/><Relationship Id="rId87" Type="http://schemas.openxmlformats.org/officeDocument/2006/relationships/slideLayout" Target="../slideLayouts/slideLayout88.xml"/><Relationship Id="rId110" Type="http://schemas.openxmlformats.org/officeDocument/2006/relationships/slideLayout" Target="../slideLayouts/slideLayout111.xml"/><Relationship Id="rId115" Type="http://schemas.openxmlformats.org/officeDocument/2006/relationships/slideLayout" Target="../slideLayouts/slideLayout116.xml"/><Relationship Id="rId131" Type="http://schemas.openxmlformats.org/officeDocument/2006/relationships/slideLayout" Target="../slideLayouts/slideLayout132.xml"/><Relationship Id="rId136" Type="http://schemas.openxmlformats.org/officeDocument/2006/relationships/tags" Target="../tags/tag3.xml"/><Relationship Id="rId61" Type="http://schemas.openxmlformats.org/officeDocument/2006/relationships/slideLayout" Target="../slideLayouts/slideLayout62.xml"/><Relationship Id="rId82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oleObject" Target="../embeddings/oleObject39.bin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tags" Target="../tags/tag42.xml"/><Relationship Id="rId2" Type="http://schemas.openxmlformats.org/officeDocument/2006/relationships/slideLayout" Target="../slideLayouts/slideLayout136.xml"/><Relationship Id="rId16" Type="http://schemas.openxmlformats.org/officeDocument/2006/relationships/vmlDrawing" Target="../drawings/vmlDrawing39.v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4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heme" Target="../theme/theme5.xml"/><Relationship Id="rId18" Type="http://schemas.openxmlformats.org/officeDocument/2006/relationships/image" Target="../media/image35.emf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oleObject" Target="../embeddings/oleObject40.bin"/><Relationship Id="rId2" Type="http://schemas.openxmlformats.org/officeDocument/2006/relationships/slideLayout" Target="../slideLayouts/slideLayout161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vmlDrawing" Target="../drawings/vmlDrawing4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1095944"/>
              </p:ext>
            </p:extLst>
          </p:nvPr>
        </p:nvGraphicFramePr>
        <p:xfrm>
          <a:off x="1210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8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0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322" y="274563"/>
            <a:ext cx="1097494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322" y="1600202"/>
            <a:ext cx="10974946" cy="4526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321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083" y="6356049"/>
            <a:ext cx="3861423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8380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35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107" dirty="0"/>
          </a:p>
        </p:txBody>
      </p:sp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9103747" y="6487184"/>
            <a:ext cx="2845888" cy="365276"/>
          </a:xfrm>
          <a:prstGeom prst="rect">
            <a:avLst/>
          </a:prstGeom>
        </p:spPr>
        <p:txBody>
          <a:bodyPr vert="horz" lIns="68808" tIns="34405" rIns="68808" bIns="34405" rtlCol="0" anchor="ctr"/>
          <a:lstStyle>
            <a:defPPr>
              <a:defRPr lang="es-CL"/>
            </a:defPPr>
            <a:lvl1pPr marL="0" algn="r" defTabSz="1440180" rtl="0" eaLnBrk="1" latinLnBrk="0" hangingPunct="1">
              <a:defRPr sz="2400" kern="1200">
                <a:solidFill>
                  <a:srgbClr val="FF3399"/>
                </a:solidFill>
                <a:latin typeface="Tw Cen MT" pitchFamily="34" charset="0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2FB80-0D90-44FD-B9C0-03B43FA6E588}" type="slidenum">
              <a:rPr lang="es-CL" sz="1505" b="1" smtClean="0"/>
              <a:pPr/>
              <a:t>‹Nº›</a:t>
            </a:fld>
            <a:endParaRPr lang="es-CL" sz="1505" b="1" dirty="0"/>
          </a:p>
        </p:txBody>
      </p:sp>
    </p:spTree>
    <p:extLst>
      <p:ext uri="{BB962C8B-B14F-4D97-AF65-F5344CB8AC3E}">
        <p14:creationId xmlns:p14="http://schemas.microsoft.com/office/powerpoint/2010/main" val="158362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hdr="0" dt="0"/>
  <p:txStyles>
    <p:titleStyle>
      <a:lvl1pPr algn="ctr" defTabSz="688112" rtl="0" eaLnBrk="1" latinLnBrk="0" hangingPunct="1">
        <a:spcBef>
          <a:spcPct val="0"/>
        </a:spcBef>
        <a:buNone/>
        <a:defRPr sz="3311" kern="1200">
          <a:solidFill>
            <a:schemeClr val="tx1"/>
          </a:solidFill>
          <a:latin typeface="Tw Cen MT" pitchFamily="34" charset="0"/>
          <a:ea typeface="+mj-ea"/>
          <a:cs typeface="+mj-cs"/>
        </a:defRPr>
      </a:lvl1pPr>
    </p:titleStyle>
    <p:bodyStyle>
      <a:lvl1pPr marL="258042" indent="-258042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408" kern="1200">
          <a:solidFill>
            <a:schemeClr val="tx1"/>
          </a:solidFill>
          <a:latin typeface="Tw Cen MT" pitchFamily="34" charset="0"/>
          <a:ea typeface="+mn-ea"/>
          <a:cs typeface="+mn-cs"/>
        </a:defRPr>
      </a:lvl1pPr>
      <a:lvl2pPr marL="559091" indent="-215035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107" kern="1200">
          <a:solidFill>
            <a:schemeClr val="tx1"/>
          </a:solidFill>
          <a:latin typeface="Tw Cen MT" pitchFamily="34" charset="0"/>
          <a:ea typeface="+mn-ea"/>
          <a:cs typeface="+mn-cs"/>
        </a:defRPr>
      </a:lvl2pPr>
      <a:lvl3pPr marL="860140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806" kern="1200">
          <a:solidFill>
            <a:schemeClr val="tx1"/>
          </a:solidFill>
          <a:latin typeface="Tw Cen MT" pitchFamily="34" charset="0"/>
          <a:ea typeface="+mn-ea"/>
          <a:cs typeface="+mn-cs"/>
        </a:defRPr>
      </a:lvl3pPr>
      <a:lvl4pPr marL="1204197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1548252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1892308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6pPr>
      <a:lvl7pPr marL="2236365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7pPr>
      <a:lvl8pPr marL="2580420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8pPr>
      <a:lvl9pPr marL="2924477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1pPr>
      <a:lvl2pPr marL="344056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2pPr>
      <a:lvl3pPr marL="688112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3pPr>
      <a:lvl4pPr marL="1032168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4pPr>
      <a:lvl5pPr marL="1376225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5pPr>
      <a:lvl6pPr marL="172028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6pPr>
      <a:lvl7pPr marL="2064337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7pPr>
      <a:lvl8pPr marL="2408393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8pPr>
      <a:lvl9pPr marL="2752449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6"/>
            </p:custDataLst>
            <p:extLst>
              <p:ext uri="{D42A27DB-BD31-4B8C-83A1-F6EECF244321}">
                <p14:modId xmlns:p14="http://schemas.microsoft.com/office/powerpoint/2010/main" val="125415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9" name="Diapositiva de think-cell" r:id="rId137" imgW="415" imgH="416" progId="TCLayout.ActiveDocument.1">
                  <p:embed/>
                </p:oleObj>
              </mc:Choice>
              <mc:Fallback>
                <p:oleObj name="Diapositiva de think-cell" r:id="rId137" imgW="415" imgH="41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3FDF6499-BF75-2B43-873E-5F8A11B0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10" y="365130"/>
            <a:ext cx="1051696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AE4DACB6-C16E-AD4D-A050-D8371C5A5F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10" y="1825625"/>
            <a:ext cx="105169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A4EF3D5B-E3F7-9F4F-A990-962CE7AE3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B3C94-6D56-164E-BA24-E6E2F14D2128}" type="datetimeFigureOut">
              <a:rPr lang="es-CL" smtClean="0"/>
              <a:t>16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248991B7-C8D3-BA4C-977D-6C4B10D1ED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8"/>
            <a:ext cx="41153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CC28B88-4B6B-1549-9AC7-3FB21D7B0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8818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4017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56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63" r:id="rId42"/>
    <p:sldLayoutId id="2147483764" r:id="rId43"/>
    <p:sldLayoutId id="2147483765" r:id="rId44"/>
    <p:sldLayoutId id="2147483766" r:id="rId45"/>
    <p:sldLayoutId id="2147483767" r:id="rId46"/>
    <p:sldLayoutId id="2147483768" r:id="rId47"/>
    <p:sldLayoutId id="2147483769" r:id="rId48"/>
    <p:sldLayoutId id="2147483770" r:id="rId49"/>
    <p:sldLayoutId id="2147483771" r:id="rId50"/>
    <p:sldLayoutId id="2147483772" r:id="rId51"/>
    <p:sldLayoutId id="2147483773" r:id="rId52"/>
    <p:sldLayoutId id="2147483774" r:id="rId53"/>
    <p:sldLayoutId id="2147483775" r:id="rId54"/>
    <p:sldLayoutId id="2147483776" r:id="rId55"/>
    <p:sldLayoutId id="2147483777" r:id="rId56"/>
    <p:sldLayoutId id="2147483778" r:id="rId57"/>
    <p:sldLayoutId id="2147483779" r:id="rId58"/>
    <p:sldLayoutId id="2147483780" r:id="rId59"/>
    <p:sldLayoutId id="2147483781" r:id="rId60"/>
    <p:sldLayoutId id="2147483782" r:id="rId61"/>
    <p:sldLayoutId id="2147483783" r:id="rId62"/>
    <p:sldLayoutId id="2147483784" r:id="rId63"/>
    <p:sldLayoutId id="2147483785" r:id="rId64"/>
    <p:sldLayoutId id="2147483786" r:id="rId65"/>
    <p:sldLayoutId id="2147483787" r:id="rId66"/>
    <p:sldLayoutId id="2147483788" r:id="rId67"/>
    <p:sldLayoutId id="2147483790" r:id="rId68"/>
    <p:sldLayoutId id="2147483791" r:id="rId69"/>
    <p:sldLayoutId id="2147483792" r:id="rId70"/>
    <p:sldLayoutId id="2147483793" r:id="rId71"/>
    <p:sldLayoutId id="2147483794" r:id="rId72"/>
    <p:sldLayoutId id="2147483795" r:id="rId73"/>
    <p:sldLayoutId id="2147483796" r:id="rId74"/>
    <p:sldLayoutId id="2147483798" r:id="rId75"/>
    <p:sldLayoutId id="2147483955" r:id="rId76"/>
    <p:sldLayoutId id="2147483956" r:id="rId77"/>
    <p:sldLayoutId id="2147483957" r:id="rId78"/>
    <p:sldLayoutId id="2147483958" r:id="rId79"/>
    <p:sldLayoutId id="2147483959" r:id="rId80"/>
    <p:sldLayoutId id="2147483960" r:id="rId81"/>
    <p:sldLayoutId id="2147483961" r:id="rId82"/>
    <p:sldLayoutId id="2147483962" r:id="rId83"/>
    <p:sldLayoutId id="2147483963" r:id="rId84"/>
    <p:sldLayoutId id="2147483964" r:id="rId85"/>
    <p:sldLayoutId id="2147483965" r:id="rId86"/>
    <p:sldLayoutId id="2147483966" r:id="rId87"/>
    <p:sldLayoutId id="2147483967" r:id="rId88"/>
    <p:sldLayoutId id="2147483968" r:id="rId89"/>
    <p:sldLayoutId id="2147483969" r:id="rId90"/>
    <p:sldLayoutId id="2147483970" r:id="rId91"/>
    <p:sldLayoutId id="2147483971" r:id="rId92"/>
    <p:sldLayoutId id="2147483972" r:id="rId93"/>
    <p:sldLayoutId id="2147483973" r:id="rId94"/>
    <p:sldLayoutId id="2147483974" r:id="rId95"/>
    <p:sldLayoutId id="2147483975" r:id="rId96"/>
    <p:sldLayoutId id="2147483976" r:id="rId97"/>
    <p:sldLayoutId id="2147483977" r:id="rId98"/>
    <p:sldLayoutId id="2147483978" r:id="rId99"/>
    <p:sldLayoutId id="2147483979" r:id="rId100"/>
    <p:sldLayoutId id="2147483980" r:id="rId101"/>
    <p:sldLayoutId id="2147483981" r:id="rId102"/>
    <p:sldLayoutId id="2147483982" r:id="rId103"/>
    <p:sldLayoutId id="2147483983" r:id="rId104"/>
    <p:sldLayoutId id="2147483984" r:id="rId105"/>
    <p:sldLayoutId id="2147483985" r:id="rId106"/>
    <p:sldLayoutId id="2147483986" r:id="rId107"/>
    <p:sldLayoutId id="2147483987" r:id="rId108"/>
    <p:sldLayoutId id="2147483988" r:id="rId109"/>
    <p:sldLayoutId id="2147483989" r:id="rId110"/>
    <p:sldLayoutId id="2147483990" r:id="rId111"/>
    <p:sldLayoutId id="2147483991" r:id="rId112"/>
    <p:sldLayoutId id="2147483992" r:id="rId113"/>
    <p:sldLayoutId id="2147483993" r:id="rId114"/>
    <p:sldLayoutId id="2147483994" r:id="rId115"/>
    <p:sldLayoutId id="2147483995" r:id="rId116"/>
    <p:sldLayoutId id="2147483996" r:id="rId117"/>
    <p:sldLayoutId id="2147483997" r:id="rId118"/>
    <p:sldLayoutId id="2147483998" r:id="rId119"/>
    <p:sldLayoutId id="2147483999" r:id="rId120"/>
    <p:sldLayoutId id="2147484000" r:id="rId121"/>
    <p:sldLayoutId id="2147484001" r:id="rId122"/>
    <p:sldLayoutId id="2147484002" r:id="rId123"/>
    <p:sldLayoutId id="2147484003" r:id="rId124"/>
    <p:sldLayoutId id="2147484005" r:id="rId125"/>
    <p:sldLayoutId id="2147484006" r:id="rId126"/>
    <p:sldLayoutId id="2147484007" r:id="rId127"/>
    <p:sldLayoutId id="2147484008" r:id="rId128"/>
    <p:sldLayoutId id="2147484009" r:id="rId129"/>
    <p:sldLayoutId id="2147484010" r:id="rId130"/>
    <p:sldLayoutId id="2147484011" r:id="rId131"/>
    <p:sldLayoutId id="2147484013" r:id="rId132"/>
    <p:sldLayoutId id="2147484015" r:id="rId133"/>
  </p:sldLayoutIdLst>
  <p:txStyles>
    <p:titleStyle>
      <a:lvl1pPr algn="l" defTabSz="91336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39" indent="-228339" algn="l" defTabSz="913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6" kern="1200">
          <a:solidFill>
            <a:schemeClr val="tx1"/>
          </a:solidFill>
          <a:latin typeface="+mn-lt"/>
          <a:ea typeface="+mn-ea"/>
          <a:cs typeface="+mn-cs"/>
        </a:defRPr>
      </a:lvl1pPr>
      <a:lvl2pPr marL="68502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141703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8385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2055066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511748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9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42511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88179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682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3363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7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3451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7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616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</p:sldLayoutIdLst>
  <p:txStyles>
    <p:titleStyle>
      <a:lvl1pPr algn="ctr" defTabSz="913911" rtl="0" eaLnBrk="1" latinLnBrk="0" hangingPunct="1"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16" indent="-342716" algn="l" defTabSz="913911" rtl="0" eaLnBrk="1" latinLnBrk="0" hangingPunct="1">
        <a:spcBef>
          <a:spcPct val="20000"/>
        </a:spcBef>
        <a:buFont typeface="Arial" pitchFamily="34" charset="0"/>
        <a:buChar char="•"/>
        <a:defRPr sz="3198" kern="1200">
          <a:solidFill>
            <a:schemeClr val="tx1"/>
          </a:solidFill>
          <a:latin typeface="+mn-lt"/>
          <a:ea typeface="+mn-ea"/>
          <a:cs typeface="+mn-cs"/>
        </a:defRPr>
      </a:lvl1pPr>
      <a:lvl2pPr marL="742552" indent="-285597" algn="l" defTabSz="913911" rtl="0" eaLnBrk="1" latinLnBrk="0" hangingPunct="1">
        <a:spcBef>
          <a:spcPct val="20000"/>
        </a:spcBef>
        <a:buFont typeface="Arial" pitchFamily="34" charset="0"/>
        <a:buChar char="–"/>
        <a:defRPr sz="27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389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599345" indent="-228477" algn="l" defTabSz="913911" rtl="0" eaLnBrk="1" latinLnBrk="0" hangingPunct="1">
        <a:spcBef>
          <a:spcPct val="20000"/>
        </a:spcBef>
        <a:buFont typeface="Arial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56300" indent="-228477" algn="l" defTabSz="913911" rtl="0" eaLnBrk="1" latinLnBrk="0" hangingPunct="1">
        <a:spcBef>
          <a:spcPct val="20000"/>
        </a:spcBef>
        <a:buFont typeface="Arial" pitchFamily="34" charset="0"/>
        <a:buChar char="»"/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1325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210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716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4122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11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6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2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7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733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89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644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044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50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801247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  <p:sldLayoutId id="2147484095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.xml"/><Relationship Id="rId7" Type="http://schemas.openxmlformats.org/officeDocument/2006/relationships/oleObject" Target="../embeddings/oleObject51.bin"/><Relationship Id="rId2" Type="http://schemas.openxmlformats.org/officeDocument/2006/relationships/tags" Target="../tags/tag5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8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75.xml"/><Relationship Id="rId7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11" Type="http://schemas.openxmlformats.org/officeDocument/2006/relationships/image" Target="../media/image50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77.xml"/><Relationship Id="rId7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11" Type="http://schemas.openxmlformats.org/officeDocument/2006/relationships/image" Target="../media/image50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66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tags" Target="../tags/tag81.xml"/><Relationship Id="rId7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11" Type="http://schemas.openxmlformats.org/officeDocument/2006/relationships/image" Target="../media/image50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70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3.xml"/><Relationship Id="rId7" Type="http://schemas.openxmlformats.org/officeDocument/2006/relationships/oleObject" Target="../embeddings/oleObject64.bin"/><Relationship Id="rId2" Type="http://schemas.openxmlformats.org/officeDocument/2006/relationships/tags" Target="../tags/tag8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50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7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85.xml"/><Relationship Id="rId7" Type="http://schemas.openxmlformats.org/officeDocument/2006/relationships/image" Target="../media/image1.emf"/><Relationship Id="rId2" Type="http://schemas.openxmlformats.org/officeDocument/2006/relationships/tags" Target="../tags/tag84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tags" Target="../tags/tag89.xml"/><Relationship Id="rId7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91.xml"/><Relationship Id="rId7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tags" Target="../tags/tag93.xml"/><Relationship Id="rId7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2.tiff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tags" Target="../tags/tag95.xml"/><Relationship Id="rId7" Type="http://schemas.openxmlformats.org/officeDocument/2006/relationships/image" Target="../media/image1.emf"/><Relationship Id="rId2" Type="http://schemas.openxmlformats.org/officeDocument/2006/relationships/tags" Target="../tags/tag94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.xml"/><Relationship Id="rId7" Type="http://schemas.openxmlformats.org/officeDocument/2006/relationships/oleObject" Target="../embeddings/oleObject71.bin"/><Relationship Id="rId2" Type="http://schemas.openxmlformats.org/officeDocument/2006/relationships/tags" Target="../tags/tag9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80.pn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9.xml"/><Relationship Id="rId7" Type="http://schemas.openxmlformats.org/officeDocument/2006/relationships/oleObject" Target="../embeddings/oleObject72.bin"/><Relationship Id="rId2" Type="http://schemas.openxmlformats.org/officeDocument/2006/relationships/tags" Target="../tags/tag9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80.png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tags" Target="../tags/tag101.xml"/><Relationship Id="rId7" Type="http://schemas.openxmlformats.org/officeDocument/2006/relationships/image" Target="../media/image1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74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82.jpg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75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82.jpg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150.xml"/><Relationship Id="rId1" Type="http://schemas.openxmlformats.org/officeDocument/2006/relationships/tags" Target="../tags/tag106.xml"/><Relationship Id="rId6" Type="http://schemas.openxmlformats.org/officeDocument/2006/relationships/image" Target="../media/image85.png"/><Relationship Id="rId5" Type="http://schemas.openxmlformats.org/officeDocument/2006/relationships/image" Target="../media/image59.svg"/><Relationship Id="rId4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150.xml"/><Relationship Id="rId1" Type="http://schemas.openxmlformats.org/officeDocument/2006/relationships/tags" Target="../tags/tag107.xml"/><Relationship Id="rId6" Type="http://schemas.openxmlformats.org/officeDocument/2006/relationships/image" Target="../media/image86.png"/><Relationship Id="rId5" Type="http://schemas.openxmlformats.org/officeDocument/2006/relationships/image" Target="../media/image59.svg"/><Relationship Id="rId4" Type="http://schemas.openxmlformats.org/officeDocument/2006/relationships/image" Target="../media/image8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6.xml"/><Relationship Id="rId1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61.xml"/><Relationship Id="rId7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g"/><Relationship Id="rId3" Type="http://schemas.openxmlformats.org/officeDocument/2006/relationships/tags" Target="../tags/tag63.xml"/><Relationship Id="rId7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9.xml"/><Relationship Id="rId7" Type="http://schemas.openxmlformats.org/officeDocument/2006/relationships/oleObject" Target="../embeddings/oleObject57.bin"/><Relationship Id="rId2" Type="http://schemas.openxmlformats.org/officeDocument/2006/relationships/tags" Target="../tags/tag6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0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59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1">
            <a:extLst>
              <a:ext uri="{FF2B5EF4-FFF2-40B4-BE49-F238E27FC236}">
                <a16:creationId xmlns="" xmlns:a16="http://schemas.microsoft.com/office/drawing/2014/main" id="{471D6976-62DA-5448-B8DD-E017E01E205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10" t="-44" r="5634" b="-1219"/>
          <a:stretch/>
        </p:blipFill>
        <p:spPr>
          <a:xfrm>
            <a:off x="0" y="-41111"/>
            <a:ext cx="7921099" cy="7021699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369606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9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20">
            <a:extLst>
              <a:ext uri="{FF2B5EF4-FFF2-40B4-BE49-F238E27FC236}">
                <a16:creationId xmlns="" xmlns:a16="http://schemas.microsoft.com/office/drawing/2014/main" id="{DBF8B931-709D-4240-BDFE-CE25CB2D809F}"/>
              </a:ext>
            </a:extLst>
          </p:cNvPr>
          <p:cNvSpPr/>
          <p:nvPr/>
        </p:nvSpPr>
        <p:spPr>
          <a:xfrm>
            <a:off x="7921099" y="-48616"/>
            <a:ext cx="4424909" cy="694462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 dirty="0"/>
          </a:p>
        </p:txBody>
      </p:sp>
      <p:pic>
        <p:nvPicPr>
          <p:cNvPr id="17" name="Imagen 14">
            <a:extLst>
              <a:ext uri="{FF2B5EF4-FFF2-40B4-BE49-F238E27FC236}">
                <a16:creationId xmlns="" xmlns:a16="http://schemas.microsoft.com/office/drawing/2014/main" id="{587049E0-12CE-5149-A1F9-82F9E61905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6208" y="401655"/>
            <a:ext cx="833536" cy="1303457"/>
          </a:xfrm>
          <a:prstGeom prst="rect">
            <a:avLst/>
          </a:prstGeom>
        </p:spPr>
      </p:pic>
      <p:sp>
        <p:nvSpPr>
          <p:cNvPr id="24" name="Marcador de texto 1">
            <a:extLst>
              <a:ext uri="{FF2B5EF4-FFF2-40B4-BE49-F238E27FC236}">
                <a16:creationId xmlns="" xmlns:a16="http://schemas.microsoft.com/office/drawing/2014/main" id="{557F78A5-5111-2A4C-9D48-5127632ECA6F}"/>
              </a:ext>
            </a:extLst>
          </p:cNvPr>
          <p:cNvSpPr txBox="1">
            <a:spLocks/>
          </p:cNvSpPr>
          <p:nvPr/>
        </p:nvSpPr>
        <p:spPr>
          <a:xfrm>
            <a:off x="8093466" y="5013176"/>
            <a:ext cx="6145484" cy="1205622"/>
          </a:xfrm>
          <a:prstGeom prst="rect">
            <a:avLst/>
          </a:prstGeom>
        </p:spPr>
        <p:txBody>
          <a:bodyPr vert="horz" lIns="91452" tIns="45726" rIns="91452" bIns="45726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32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Estrobero de torre </a:t>
            </a:r>
          </a:p>
          <a:p>
            <a:pPr algn="l"/>
            <a:r>
              <a:rPr lang="es-ES" sz="32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de madereo</a:t>
            </a:r>
          </a:p>
          <a:p>
            <a:pPr algn="l"/>
            <a:endParaRPr lang="es-ES" sz="3200" dirty="0">
              <a:solidFill>
                <a:srgbClr val="0C662F"/>
              </a:solidFill>
              <a:latin typeface="ACHS Nueva Serif" pitchFamily="2" charset="77"/>
              <a:sym typeface="Arial"/>
            </a:endParaRPr>
          </a:p>
          <a:p>
            <a:pPr algn="l"/>
            <a:endParaRPr lang="es-CL" sz="3200" spc="-114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  <a:p>
            <a:pPr algn="l"/>
            <a:endParaRPr lang="es-CL" sz="3200" dirty="0">
              <a:solidFill>
                <a:srgbClr val="0C662F"/>
              </a:solidFill>
              <a:latin typeface="ACHS Nueva Serif" pitchFamily="2" charset="77"/>
            </a:endParaRPr>
          </a:p>
        </p:txBody>
      </p:sp>
      <p:sp>
        <p:nvSpPr>
          <p:cNvPr id="25" name="Rectángulo redondeado 12">
            <a:extLst>
              <a:ext uri="{FF2B5EF4-FFF2-40B4-BE49-F238E27FC236}">
                <a16:creationId xmlns="" xmlns:a16="http://schemas.microsoft.com/office/drawing/2014/main" id="{31D7EC58-CB7E-FB4C-92F7-4FAF9B6EEF7B}"/>
              </a:ext>
            </a:extLst>
          </p:cNvPr>
          <p:cNvSpPr/>
          <p:nvPr/>
        </p:nvSpPr>
        <p:spPr>
          <a:xfrm>
            <a:off x="8203208" y="3859912"/>
            <a:ext cx="2227028" cy="369060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800" dirty="0"/>
          </a:p>
        </p:txBody>
      </p:sp>
      <p:sp>
        <p:nvSpPr>
          <p:cNvPr id="26" name="Rectángulo 13">
            <a:extLst>
              <a:ext uri="{FF2B5EF4-FFF2-40B4-BE49-F238E27FC236}">
                <a16:creationId xmlns="" xmlns:a16="http://schemas.microsoft.com/office/drawing/2014/main" id="{B9986618-A524-6A4D-94E6-9CBF98451738}"/>
              </a:ext>
            </a:extLst>
          </p:cNvPr>
          <p:cNvSpPr/>
          <p:nvPr/>
        </p:nvSpPr>
        <p:spPr>
          <a:xfrm>
            <a:off x="8203207" y="3859912"/>
            <a:ext cx="2214068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966">
              <a:defRPr/>
            </a:pPr>
            <a:r>
              <a:rPr lang="es-ES" sz="1798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1798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1798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4707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0819979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5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</a:p>
        </p:txBody>
      </p:sp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676792" y="2604079"/>
            <a:ext cx="3256046" cy="141035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Estrobo fuertemente apretado deslizador apegado a la troza y puesto en extremo a no más de 50 cm. de su base, para evitar atascamientos en tocones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5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4581070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Hacer rodar el tronco para salvar obstáculos y tener salida más fácil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5" t="6780" r="6577" b="5077"/>
          <a:stretch/>
        </p:blipFill>
        <p:spPr bwMode="auto">
          <a:xfrm>
            <a:off x="631672" y="4197086"/>
            <a:ext cx="3346286" cy="1593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7" name="Picture 2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43" r="4409" b="6912"/>
          <a:stretch/>
        </p:blipFill>
        <p:spPr bwMode="auto">
          <a:xfrm>
            <a:off x="4490830" y="3918952"/>
            <a:ext cx="3346286" cy="1590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8493573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Cable entre trozo y obstáculo para golpearlo en el costado y/o saltarlo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60" name="Picture 2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0066" y="4014430"/>
            <a:ext cx="3491328" cy="1590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Imagen 5">
            <a:extLst>
              <a:ext uri="{FF2B5EF4-FFF2-40B4-BE49-F238E27FC236}">
                <a16:creationId xmlns="" xmlns:a16="http://schemas.microsoft.com/office/drawing/2014/main" id="{E63E7A39-74B8-FC48-9C46-EA6CCCDCE3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6" name="Conector recto 6">
            <a:extLst>
              <a:ext uri="{FF2B5EF4-FFF2-40B4-BE49-F238E27FC236}">
                <a16:creationId xmlns="" xmlns:a16="http://schemas.microsoft.com/office/drawing/2014/main" id="{6809954D-B11D-7846-A6A6-9883E141BD4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248FDF7A-8FBA-ED44-AF07-D0E91B812F8E}"/>
              </a:ext>
            </a:extLst>
          </p:cNvPr>
          <p:cNvGrpSpPr/>
          <p:nvPr/>
        </p:nvGrpSpPr>
        <p:grpSpPr>
          <a:xfrm>
            <a:off x="577708" y="1621937"/>
            <a:ext cx="3135457" cy="755195"/>
            <a:chOff x="479914" y="1628453"/>
            <a:chExt cx="3135457" cy="755195"/>
          </a:xfrm>
        </p:grpSpPr>
        <p:sp>
          <p:nvSpPr>
            <p:cNvPr id="27" name="Google Shape;1428;p39">
              <a:extLst>
                <a:ext uri="{FF2B5EF4-FFF2-40B4-BE49-F238E27FC236}">
                  <a16:creationId xmlns="" xmlns:a16="http://schemas.microsoft.com/office/drawing/2014/main" id="{1521991A-1ACF-9146-8A95-C2D76A3CE78B}"/>
                </a:ext>
              </a:extLst>
            </p:cNvPr>
            <p:cNvSpPr/>
            <p:nvPr/>
          </p:nvSpPr>
          <p:spPr>
            <a:xfrm>
              <a:off x="783258" y="1631869"/>
              <a:ext cx="2832113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29" name="Google Shape;1431;p39">
              <a:extLst>
                <a:ext uri="{FF2B5EF4-FFF2-40B4-BE49-F238E27FC236}">
                  <a16:creationId xmlns="" xmlns:a16="http://schemas.microsoft.com/office/drawing/2014/main" id="{BBD2142C-E4C0-CD4F-A115-4DDA5B10DF0B}"/>
                </a:ext>
              </a:extLst>
            </p:cNvPr>
            <p:cNvSpPr/>
            <p:nvPr/>
          </p:nvSpPr>
          <p:spPr>
            <a:xfrm>
              <a:off x="479914" y="1628453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Marcador de texto 31">
              <a:extLst>
                <a:ext uri="{FF2B5EF4-FFF2-40B4-BE49-F238E27FC236}">
                  <a16:creationId xmlns="" xmlns:a16="http://schemas.microsoft.com/office/drawing/2014/main" id="{3D637F0B-8C60-F04C-8400-BEBB2FA388D2}"/>
                </a:ext>
              </a:extLst>
            </p:cNvPr>
            <p:cNvSpPr txBox="1">
              <a:spLocks/>
            </p:cNvSpPr>
            <p:nvPr/>
          </p:nvSpPr>
          <p:spPr>
            <a:xfrm>
              <a:off x="654751" y="1660637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1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28" name="Marcador de texto 31">
              <a:extLst>
                <a:ext uri="{FF2B5EF4-FFF2-40B4-BE49-F238E27FC236}">
                  <a16:creationId xmlns="" xmlns:a16="http://schemas.microsoft.com/office/drawing/2014/main" id="{BD869C79-D573-5A42-A9A7-38BC9DC42C05}"/>
                </a:ext>
              </a:extLst>
            </p:cNvPr>
            <p:cNvSpPr txBox="1">
              <a:spLocks/>
            </p:cNvSpPr>
            <p:nvPr/>
          </p:nvSpPr>
          <p:spPr>
            <a:xfrm>
              <a:off x="1289027" y="1866201"/>
              <a:ext cx="1922073" cy="3801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normal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ED8161C0-3713-EB46-BD8F-C6192A180642}"/>
              </a:ext>
            </a:extLst>
          </p:cNvPr>
          <p:cNvGrpSpPr/>
          <p:nvPr/>
        </p:nvGrpSpPr>
        <p:grpSpPr>
          <a:xfrm>
            <a:off x="4460084" y="1628800"/>
            <a:ext cx="3135458" cy="755195"/>
            <a:chOff x="3967297" y="1625037"/>
            <a:chExt cx="3135458" cy="755195"/>
          </a:xfrm>
        </p:grpSpPr>
        <p:sp>
          <p:nvSpPr>
            <p:cNvPr id="32" name="Google Shape;1428;p39">
              <a:extLst>
                <a:ext uri="{FF2B5EF4-FFF2-40B4-BE49-F238E27FC236}">
                  <a16:creationId xmlns="" xmlns:a16="http://schemas.microsoft.com/office/drawing/2014/main" id="{E70D4402-B32A-094D-A12F-D199964C1380}"/>
                </a:ext>
              </a:extLst>
            </p:cNvPr>
            <p:cNvSpPr/>
            <p:nvPr/>
          </p:nvSpPr>
          <p:spPr>
            <a:xfrm>
              <a:off x="4270641" y="1628453"/>
              <a:ext cx="2832114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33" name="Google Shape;1431;p39">
              <a:extLst>
                <a:ext uri="{FF2B5EF4-FFF2-40B4-BE49-F238E27FC236}">
                  <a16:creationId xmlns="" xmlns:a16="http://schemas.microsoft.com/office/drawing/2014/main" id="{30CFFBFD-A681-6744-8623-2CB0AB5CF801}"/>
                </a:ext>
              </a:extLst>
            </p:cNvPr>
            <p:cNvSpPr/>
            <p:nvPr/>
          </p:nvSpPr>
          <p:spPr>
            <a:xfrm>
              <a:off x="3967297" y="1625037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Marcador de texto 31">
              <a:extLst>
                <a:ext uri="{FF2B5EF4-FFF2-40B4-BE49-F238E27FC236}">
                  <a16:creationId xmlns="" xmlns:a16="http://schemas.microsoft.com/office/drawing/2014/main" id="{C9EF341E-C41B-B74E-8426-DA518346050A}"/>
                </a:ext>
              </a:extLst>
            </p:cNvPr>
            <p:cNvSpPr txBox="1">
              <a:spLocks/>
            </p:cNvSpPr>
            <p:nvPr/>
          </p:nvSpPr>
          <p:spPr>
            <a:xfrm>
              <a:off x="4076035" y="1658252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2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40" name="Marcador de texto 31">
              <a:extLst>
                <a:ext uri="{FF2B5EF4-FFF2-40B4-BE49-F238E27FC236}">
                  <a16:creationId xmlns="" xmlns:a16="http://schemas.microsoft.com/office/drawing/2014/main" id="{BD869C79-D573-5A42-A9A7-38BC9DC42C05}"/>
                </a:ext>
              </a:extLst>
            </p:cNvPr>
            <p:cNvSpPr txBox="1">
              <a:spLocks/>
            </p:cNvSpPr>
            <p:nvPr/>
          </p:nvSpPr>
          <p:spPr>
            <a:xfrm>
              <a:off x="4770371" y="1866201"/>
              <a:ext cx="2039461" cy="30882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rodillo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87FD5836-9F1D-5847-8F95-68B2F577A8E4}"/>
              </a:ext>
            </a:extLst>
          </p:cNvPr>
          <p:cNvGrpSpPr/>
          <p:nvPr/>
        </p:nvGrpSpPr>
        <p:grpSpPr>
          <a:xfrm>
            <a:off x="8289715" y="1628800"/>
            <a:ext cx="3151328" cy="755195"/>
            <a:chOff x="8655987" y="1643018"/>
            <a:chExt cx="3151328" cy="755195"/>
          </a:xfrm>
        </p:grpSpPr>
        <p:sp>
          <p:nvSpPr>
            <p:cNvPr id="48" name="Google Shape;1428;p39">
              <a:extLst>
                <a:ext uri="{FF2B5EF4-FFF2-40B4-BE49-F238E27FC236}">
                  <a16:creationId xmlns="" xmlns:a16="http://schemas.microsoft.com/office/drawing/2014/main" id="{8B968ECC-B20C-B049-8B9A-EE9B9D4C588D}"/>
                </a:ext>
              </a:extLst>
            </p:cNvPr>
            <p:cNvSpPr/>
            <p:nvPr/>
          </p:nvSpPr>
          <p:spPr>
            <a:xfrm>
              <a:off x="8959331" y="1646434"/>
              <a:ext cx="2832113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49" name="Google Shape;1431;p39">
              <a:extLst>
                <a:ext uri="{FF2B5EF4-FFF2-40B4-BE49-F238E27FC236}">
                  <a16:creationId xmlns="" xmlns:a16="http://schemas.microsoft.com/office/drawing/2014/main" id="{6FF41D52-0D93-6F42-8374-10EED26471F0}"/>
                </a:ext>
              </a:extLst>
            </p:cNvPr>
            <p:cNvSpPr/>
            <p:nvPr/>
          </p:nvSpPr>
          <p:spPr>
            <a:xfrm>
              <a:off x="8655987" y="1643018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Marcador de texto 31">
              <a:extLst>
                <a:ext uri="{FF2B5EF4-FFF2-40B4-BE49-F238E27FC236}">
                  <a16:creationId xmlns="" xmlns:a16="http://schemas.microsoft.com/office/drawing/2014/main" id="{BD809527-8160-5443-B305-53384C92267A}"/>
                </a:ext>
              </a:extLst>
            </p:cNvPr>
            <p:cNvSpPr txBox="1">
              <a:spLocks/>
            </p:cNvSpPr>
            <p:nvPr/>
          </p:nvSpPr>
          <p:spPr>
            <a:xfrm>
              <a:off x="8755924" y="1679388"/>
              <a:ext cx="58746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3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44" name="Marcador de texto 31">
              <a:extLst>
                <a:ext uri="{FF2B5EF4-FFF2-40B4-BE49-F238E27FC236}">
                  <a16:creationId xmlns="" xmlns:a16="http://schemas.microsoft.com/office/drawing/2014/main" id="{BD869C79-D573-5A42-A9A7-38BC9DC42C05}"/>
                </a:ext>
              </a:extLst>
            </p:cNvPr>
            <p:cNvSpPr txBox="1">
              <a:spLocks/>
            </p:cNvSpPr>
            <p:nvPr/>
          </p:nvSpPr>
          <p:spPr>
            <a:xfrm>
              <a:off x="9459061" y="1877021"/>
              <a:ext cx="2348254" cy="30882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golpe/salto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2395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5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676792" y="2604079"/>
            <a:ext cx="3256046" cy="141035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Dos o más trozos en un solo estrobo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5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4678590" y="2733850"/>
            <a:ext cx="3256046" cy="768456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Usando 2 estrobos y se utiliza habitualmente para trozas grandes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5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8493573" y="2602789"/>
            <a:ext cx="3256046" cy="141164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Cable alrededor del árbol o trozo a rozar para mover levemente la troza. Después, estrobe nuevamente o pase cable sobre tocón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24" name="Picture 2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37" t="7944" b="5261"/>
          <a:stretch/>
        </p:blipFill>
        <p:spPr bwMode="auto">
          <a:xfrm>
            <a:off x="4600185" y="3847631"/>
            <a:ext cx="3236931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2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44" t="10631" r="7096" b="5042"/>
          <a:stretch/>
        </p:blipFill>
        <p:spPr bwMode="auto">
          <a:xfrm>
            <a:off x="8493573" y="3949563"/>
            <a:ext cx="325604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2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52" t="4780" r="3448" b="6789"/>
          <a:stretch/>
        </p:blipFill>
        <p:spPr bwMode="auto">
          <a:xfrm>
            <a:off x="665510" y="3847631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7" name="Título 30">
            <a:extLst>
              <a:ext uri="{FF2B5EF4-FFF2-40B4-BE49-F238E27FC236}">
                <a16:creationId xmlns="" xmlns:a16="http://schemas.microsoft.com/office/drawing/2014/main" id="{6E9BBEC4-CBDD-D54F-86C2-FE8D7361C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</a:p>
        </p:txBody>
      </p:sp>
      <p:pic>
        <p:nvPicPr>
          <p:cNvPr id="47" name="Imagen 5">
            <a:extLst>
              <a:ext uri="{FF2B5EF4-FFF2-40B4-BE49-F238E27FC236}">
                <a16:creationId xmlns="" xmlns:a16="http://schemas.microsoft.com/office/drawing/2014/main" id="{704E1AC7-A81E-644B-A5A3-0F3C325D4B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48" name="Conector recto 6">
            <a:extLst>
              <a:ext uri="{FF2B5EF4-FFF2-40B4-BE49-F238E27FC236}">
                <a16:creationId xmlns="" xmlns:a16="http://schemas.microsoft.com/office/drawing/2014/main" id="{7B960ED3-C09F-CB44-9F1E-18CCD4EFF641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0" name="Google Shape;1428;p39">
            <a:extLst>
              <a:ext uri="{FF2B5EF4-FFF2-40B4-BE49-F238E27FC236}">
                <a16:creationId xmlns="" xmlns:a16="http://schemas.microsoft.com/office/drawing/2014/main" id="{518BEC87-3193-5F44-8287-FEF32401C474}"/>
              </a:ext>
            </a:extLst>
          </p:cNvPr>
          <p:cNvSpPr/>
          <p:nvPr/>
        </p:nvSpPr>
        <p:spPr>
          <a:xfrm>
            <a:off x="961845" y="1632216"/>
            <a:ext cx="2752404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1" name="Google Shape;1431;p39">
            <a:extLst>
              <a:ext uri="{FF2B5EF4-FFF2-40B4-BE49-F238E27FC236}">
                <a16:creationId xmlns="" xmlns:a16="http://schemas.microsoft.com/office/drawing/2014/main" id="{D87DEB4E-9A62-7B4F-881E-FB82B03F31E3}"/>
              </a:ext>
            </a:extLst>
          </p:cNvPr>
          <p:cNvSpPr/>
          <p:nvPr/>
        </p:nvSpPr>
        <p:spPr>
          <a:xfrm>
            <a:off x="578792" y="1628800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Marcador de texto 31">
            <a:extLst>
              <a:ext uri="{FF2B5EF4-FFF2-40B4-BE49-F238E27FC236}">
                <a16:creationId xmlns="" xmlns:a16="http://schemas.microsoft.com/office/drawing/2014/main" id="{AE2F979B-65F1-E149-9D1B-2E757982E28F}"/>
              </a:ext>
            </a:extLst>
          </p:cNvPr>
          <p:cNvSpPr txBox="1">
            <a:spLocks/>
          </p:cNvSpPr>
          <p:nvPr/>
        </p:nvSpPr>
        <p:spPr>
          <a:xfrm>
            <a:off x="666027" y="1676088"/>
            <a:ext cx="569354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4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55" name="Google Shape;1428;p39">
            <a:extLst>
              <a:ext uri="{FF2B5EF4-FFF2-40B4-BE49-F238E27FC236}">
                <a16:creationId xmlns="" xmlns:a16="http://schemas.microsoft.com/office/drawing/2014/main" id="{8556D035-1C24-B14C-801F-911FE4D3FC17}"/>
              </a:ext>
            </a:extLst>
          </p:cNvPr>
          <p:cNvSpPr/>
          <p:nvPr/>
        </p:nvSpPr>
        <p:spPr>
          <a:xfrm>
            <a:off x="4835145" y="1637044"/>
            <a:ext cx="2752404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6" name="Google Shape;1431;p39">
            <a:extLst>
              <a:ext uri="{FF2B5EF4-FFF2-40B4-BE49-F238E27FC236}">
                <a16:creationId xmlns="" xmlns:a16="http://schemas.microsoft.com/office/drawing/2014/main" id="{A244B026-FAB0-3046-AC7F-EE855263E8B2}"/>
              </a:ext>
            </a:extLst>
          </p:cNvPr>
          <p:cNvSpPr/>
          <p:nvPr/>
        </p:nvSpPr>
        <p:spPr>
          <a:xfrm>
            <a:off x="4452091" y="1633628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Marcador de texto 31">
            <a:extLst>
              <a:ext uri="{FF2B5EF4-FFF2-40B4-BE49-F238E27FC236}">
                <a16:creationId xmlns="" xmlns:a16="http://schemas.microsoft.com/office/drawing/2014/main" id="{DE0CAF1B-5EE7-2E4B-A824-A28867D9E48B}"/>
              </a:ext>
            </a:extLst>
          </p:cNvPr>
          <p:cNvSpPr txBox="1">
            <a:spLocks/>
          </p:cNvSpPr>
          <p:nvPr/>
        </p:nvSpPr>
        <p:spPr>
          <a:xfrm>
            <a:off x="4560829" y="1666843"/>
            <a:ext cx="274316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5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61" name="Google Shape;1428;p39">
            <a:extLst>
              <a:ext uri="{FF2B5EF4-FFF2-40B4-BE49-F238E27FC236}">
                <a16:creationId xmlns="" xmlns:a16="http://schemas.microsoft.com/office/drawing/2014/main" id="{6E9109E1-F474-7543-A0C6-D14655B1C232}"/>
              </a:ext>
            </a:extLst>
          </p:cNvPr>
          <p:cNvSpPr/>
          <p:nvPr/>
        </p:nvSpPr>
        <p:spPr>
          <a:xfrm>
            <a:off x="8671197" y="1617908"/>
            <a:ext cx="2788370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62" name="Google Shape;1431;p39">
            <a:extLst>
              <a:ext uri="{FF2B5EF4-FFF2-40B4-BE49-F238E27FC236}">
                <a16:creationId xmlns="" xmlns:a16="http://schemas.microsoft.com/office/drawing/2014/main" id="{5A11C26C-E605-D648-9BF4-092D3C76EBC9}"/>
              </a:ext>
            </a:extLst>
          </p:cNvPr>
          <p:cNvSpPr/>
          <p:nvPr/>
        </p:nvSpPr>
        <p:spPr>
          <a:xfrm>
            <a:off x="8324110" y="1614492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Marcador de texto 31">
            <a:extLst>
              <a:ext uri="{FF2B5EF4-FFF2-40B4-BE49-F238E27FC236}">
                <a16:creationId xmlns="" xmlns:a16="http://schemas.microsoft.com/office/drawing/2014/main" id="{DB94386D-59EE-8045-B42A-97DFC6056955}"/>
              </a:ext>
            </a:extLst>
          </p:cNvPr>
          <p:cNvSpPr txBox="1">
            <a:spLocks/>
          </p:cNvSpPr>
          <p:nvPr/>
        </p:nvSpPr>
        <p:spPr>
          <a:xfrm>
            <a:off x="8377466" y="1653655"/>
            <a:ext cx="58746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6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65" name="Marcador de texto 31">
            <a:extLst>
              <a:ext uri="{FF2B5EF4-FFF2-40B4-BE49-F238E27FC236}">
                <a16:creationId xmlns="" xmlns:a16="http://schemas.microsoft.com/office/drawing/2014/main" id="{5B0F91F1-3EF2-D341-A94F-CC84F6BD3BF2}"/>
              </a:ext>
            </a:extLst>
          </p:cNvPr>
          <p:cNvSpPr txBox="1">
            <a:spLocks/>
          </p:cNvSpPr>
          <p:nvPr/>
        </p:nvSpPr>
        <p:spPr>
          <a:xfrm>
            <a:off x="1468407" y="1844824"/>
            <a:ext cx="2580842" cy="321860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Estrobado llapa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sp>
        <p:nvSpPr>
          <p:cNvPr id="66" name="Marcador de texto 31">
            <a:extLst>
              <a:ext uri="{FF2B5EF4-FFF2-40B4-BE49-F238E27FC236}">
                <a16:creationId xmlns="" xmlns:a16="http://schemas.microsoft.com/office/drawing/2014/main" id="{76ADA3BD-E71F-8449-9966-F909640C184F}"/>
              </a:ext>
            </a:extLst>
          </p:cNvPr>
          <p:cNvSpPr txBox="1">
            <a:spLocks/>
          </p:cNvSpPr>
          <p:nvPr/>
        </p:nvSpPr>
        <p:spPr>
          <a:xfrm>
            <a:off x="5353794" y="1844824"/>
            <a:ext cx="2580842" cy="24877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Estrobado sueco</a:t>
            </a:r>
          </a:p>
        </p:txBody>
      </p:sp>
      <p:sp>
        <p:nvSpPr>
          <p:cNvPr id="67" name="Marcador de texto 31">
            <a:extLst>
              <a:ext uri="{FF2B5EF4-FFF2-40B4-BE49-F238E27FC236}">
                <a16:creationId xmlns="" xmlns:a16="http://schemas.microsoft.com/office/drawing/2014/main" id="{8DAF16EE-733B-564E-8165-32E8C1E4C975}"/>
              </a:ext>
            </a:extLst>
          </p:cNvPr>
          <p:cNvSpPr txBox="1">
            <a:spLocks/>
          </p:cNvSpPr>
          <p:nvPr/>
        </p:nvSpPr>
        <p:spPr>
          <a:xfrm>
            <a:off x="9214915" y="1844824"/>
            <a:ext cx="2315982" cy="32940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Estrobado roce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81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1621039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0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84" t="7436" r="6789" b="3329"/>
          <a:stretch/>
        </p:blipFill>
        <p:spPr bwMode="auto">
          <a:xfrm>
            <a:off x="4490830" y="3832376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5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4581070" y="2660544"/>
            <a:ext cx="3346286" cy="768456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0" kern="0" dirty="0">
                <a:solidFill>
                  <a:schemeClr val="tx1"/>
                </a:solidFill>
                <a:latin typeface="ACHS Nueva Sans Medium" pitchFamily="2" charset="77"/>
              </a:rPr>
              <a:t>Estrobado firme de dos trozas cruzadas.</a:t>
            </a:r>
            <a:endParaRPr lang="es-CL" sz="137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49AFFF24-4365-7542-B07F-DB37C3F8F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</a:p>
        </p:txBody>
      </p:sp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267E8477-90FF-E54A-9CF7-64D4324B3A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C31DD00D-BF63-5E4E-884D-7830B298609B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F66EDD1E-3A50-F64E-BBD7-31396E2B43D2}"/>
              </a:ext>
            </a:extLst>
          </p:cNvPr>
          <p:cNvGrpSpPr/>
          <p:nvPr/>
        </p:nvGrpSpPr>
        <p:grpSpPr>
          <a:xfrm>
            <a:off x="4361565" y="1628800"/>
            <a:ext cx="3470457" cy="755195"/>
            <a:chOff x="578792" y="1628800"/>
            <a:chExt cx="3470457" cy="755195"/>
          </a:xfrm>
        </p:grpSpPr>
        <p:grpSp>
          <p:nvGrpSpPr>
            <p:cNvPr id="5" name="Group 4">
              <a:extLst>
                <a:ext uri="{FF2B5EF4-FFF2-40B4-BE49-F238E27FC236}">
                  <a16:creationId xmlns="" xmlns:a16="http://schemas.microsoft.com/office/drawing/2014/main" id="{4281116C-9043-944C-9DDF-9195C39D5BC2}"/>
                </a:ext>
              </a:extLst>
            </p:cNvPr>
            <p:cNvGrpSpPr/>
            <p:nvPr/>
          </p:nvGrpSpPr>
          <p:grpSpPr>
            <a:xfrm>
              <a:off x="578792" y="1628800"/>
              <a:ext cx="3135457" cy="755195"/>
              <a:chOff x="578792" y="1628800"/>
              <a:chExt cx="3135457" cy="755195"/>
            </a:xfrm>
          </p:grpSpPr>
          <p:sp>
            <p:nvSpPr>
              <p:cNvPr id="25" name="Google Shape;1428;p39">
                <a:extLst>
                  <a:ext uri="{FF2B5EF4-FFF2-40B4-BE49-F238E27FC236}">
                    <a16:creationId xmlns="" xmlns:a16="http://schemas.microsoft.com/office/drawing/2014/main" id="{25669DA8-509C-8542-8B7B-59E1787D90C1}"/>
                  </a:ext>
                </a:extLst>
              </p:cNvPr>
              <p:cNvSpPr/>
              <p:nvPr/>
            </p:nvSpPr>
            <p:spPr>
              <a:xfrm>
                <a:off x="945868" y="1632216"/>
                <a:ext cx="276838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26" name="Google Shape;1431;p39">
                <a:extLst>
                  <a:ext uri="{FF2B5EF4-FFF2-40B4-BE49-F238E27FC236}">
                    <a16:creationId xmlns="" xmlns:a16="http://schemas.microsoft.com/office/drawing/2014/main" id="{C217E665-0A74-8F44-8249-B5B025904178}"/>
                  </a:ext>
                </a:extLst>
              </p:cNvPr>
              <p:cNvSpPr/>
              <p:nvPr/>
            </p:nvSpPr>
            <p:spPr>
              <a:xfrm>
                <a:off x="578792" y="1628800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Marcador de texto 31">
                <a:extLst>
                  <a:ext uri="{FF2B5EF4-FFF2-40B4-BE49-F238E27FC236}">
                    <a16:creationId xmlns="" xmlns:a16="http://schemas.microsoft.com/office/drawing/2014/main" id="{2715CED0-713C-4D45-A4FA-50BB7BE446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027" y="1676088"/>
                <a:ext cx="569354" cy="607041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99600" marR="0" indent="-399600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1pPr>
                <a:lvl2pPr marL="1465196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2pPr>
                <a:lvl3pPr marL="1864794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3pPr>
                <a:lvl4pPr marL="2264393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4pPr>
                <a:lvl5pPr marL="2663992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5pPr>
                <a:lvl6pPr marL="2963690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6pPr>
                <a:lvl7pPr marL="32633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7pPr>
                <a:lvl8pPr marL="35630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8pPr>
                <a:lvl9pPr marL="3862787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r>
                  <a:rPr lang="es-CL" sz="4800" b="1" kern="0" dirty="0">
                    <a:solidFill>
                      <a:schemeClr val="bg1"/>
                    </a:solidFill>
                    <a:latin typeface="ACHS Nueva Sans SemiBold" pitchFamily="2" charset="77"/>
                  </a:rPr>
                  <a:t>7</a:t>
                </a: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</p:txBody>
          </p:sp>
        </p:grpSp>
        <p:sp>
          <p:nvSpPr>
            <p:cNvPr id="37" name="Marcador de texto 31">
              <a:extLst>
                <a:ext uri="{FF2B5EF4-FFF2-40B4-BE49-F238E27FC236}">
                  <a16:creationId xmlns="" xmlns:a16="http://schemas.microsoft.com/office/drawing/2014/main" id="{BD0697F6-F26F-2048-9352-62CA097814CA}"/>
                </a:ext>
              </a:extLst>
            </p:cNvPr>
            <p:cNvSpPr txBox="1">
              <a:spLocks/>
            </p:cNvSpPr>
            <p:nvPr/>
          </p:nvSpPr>
          <p:spPr>
            <a:xfrm>
              <a:off x="1468407" y="1844824"/>
              <a:ext cx="2580842" cy="32186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cruzado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4405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90" b="4707"/>
          <a:stretch/>
        </p:blipFill>
        <p:spPr bwMode="auto">
          <a:xfrm>
            <a:off x="8513166" y="3918952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67" t="6313" r="5487" b="9001"/>
          <a:stretch/>
        </p:blipFill>
        <p:spPr bwMode="auto">
          <a:xfrm>
            <a:off x="596165" y="3918952"/>
            <a:ext cx="3346286" cy="16182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2" name="Picture 2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83" t="2330" r="3989" b="2118"/>
          <a:stretch/>
        </p:blipFill>
        <p:spPr bwMode="auto">
          <a:xfrm>
            <a:off x="4540062" y="3918952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6" name="Título 30">
            <a:extLst>
              <a:ext uri="{FF2B5EF4-FFF2-40B4-BE49-F238E27FC236}">
                <a16:creationId xmlns="" xmlns:a16="http://schemas.microsoft.com/office/drawing/2014/main" id="{03AFA497-61ED-E94E-8BBE-55CB3A173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 auxiliares</a:t>
            </a:r>
          </a:p>
        </p:txBody>
      </p:sp>
      <p:pic>
        <p:nvPicPr>
          <p:cNvPr id="49" name="Imagen 5">
            <a:extLst>
              <a:ext uri="{FF2B5EF4-FFF2-40B4-BE49-F238E27FC236}">
                <a16:creationId xmlns="" xmlns:a16="http://schemas.microsoft.com/office/drawing/2014/main" id="{364AB151-DDA1-B24F-B3C7-DD99D677849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50" name="Conector recto 6">
            <a:extLst>
              <a:ext uri="{FF2B5EF4-FFF2-40B4-BE49-F238E27FC236}">
                <a16:creationId xmlns="" xmlns:a16="http://schemas.microsoft.com/office/drawing/2014/main" id="{1F049A44-A6F7-F447-8B20-2B4F4794BF5C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2" name="Google Shape;1428;p39">
            <a:extLst>
              <a:ext uri="{FF2B5EF4-FFF2-40B4-BE49-F238E27FC236}">
                <a16:creationId xmlns="" xmlns:a16="http://schemas.microsoft.com/office/drawing/2014/main" id="{1F2D15E4-AC02-624B-96FE-BA0CBC037E43}"/>
              </a:ext>
            </a:extLst>
          </p:cNvPr>
          <p:cNvSpPr/>
          <p:nvPr/>
        </p:nvSpPr>
        <p:spPr>
          <a:xfrm>
            <a:off x="977076" y="1625353"/>
            <a:ext cx="2736090" cy="751481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3" name="Google Shape;1431;p39">
            <a:extLst>
              <a:ext uri="{FF2B5EF4-FFF2-40B4-BE49-F238E27FC236}">
                <a16:creationId xmlns="" xmlns:a16="http://schemas.microsoft.com/office/drawing/2014/main" id="{896FDE7B-382B-EF43-8D3E-DF8C2666D5F1}"/>
              </a:ext>
            </a:extLst>
          </p:cNvPr>
          <p:cNvSpPr/>
          <p:nvPr/>
        </p:nvSpPr>
        <p:spPr>
          <a:xfrm>
            <a:off x="577708" y="1621937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E46EBC2E-4E51-A449-B757-BE535852C83B}"/>
              </a:ext>
            </a:extLst>
          </p:cNvPr>
          <p:cNvSpPr txBox="1">
            <a:spLocks/>
          </p:cNvSpPr>
          <p:nvPr/>
        </p:nvSpPr>
        <p:spPr>
          <a:xfrm>
            <a:off x="752545" y="1654121"/>
            <a:ext cx="274316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rgbClr val="15C047"/>
                </a:solidFill>
                <a:latin typeface="ACHS Nueva Sans SemiBold" pitchFamily="2" charset="77"/>
              </a:rPr>
              <a:t>1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55" name="Marcador de texto 31">
            <a:extLst>
              <a:ext uri="{FF2B5EF4-FFF2-40B4-BE49-F238E27FC236}">
                <a16:creationId xmlns="" xmlns:a16="http://schemas.microsoft.com/office/drawing/2014/main" id="{F3A7B16F-50B5-9243-80DF-357ABBCE672E}"/>
              </a:ext>
            </a:extLst>
          </p:cNvPr>
          <p:cNvSpPr txBox="1">
            <a:spLocks/>
          </p:cNvSpPr>
          <p:nvPr/>
        </p:nvSpPr>
        <p:spPr>
          <a:xfrm>
            <a:off x="1371164" y="1859685"/>
            <a:ext cx="2374223" cy="38019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bg1"/>
                </a:solidFill>
                <a:latin typeface="ACHS Nueva Serif" pitchFamily="2" charset="77"/>
              </a:rPr>
              <a:t>Estrobado enganche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chemeClr val="bg1"/>
              </a:solidFill>
              <a:latin typeface="ACHS Nueva Serif" pitchFamily="2" charset="77"/>
            </a:endParaRPr>
          </a:p>
        </p:txBody>
      </p:sp>
      <p:sp>
        <p:nvSpPr>
          <p:cNvPr id="57" name="Google Shape;1428;p39">
            <a:extLst>
              <a:ext uri="{FF2B5EF4-FFF2-40B4-BE49-F238E27FC236}">
                <a16:creationId xmlns="" xmlns:a16="http://schemas.microsoft.com/office/drawing/2014/main" id="{065C9F38-D231-B94D-8B39-1B5CBF1C91B9}"/>
              </a:ext>
            </a:extLst>
          </p:cNvPr>
          <p:cNvSpPr/>
          <p:nvPr/>
        </p:nvSpPr>
        <p:spPr>
          <a:xfrm>
            <a:off x="4843138" y="1632216"/>
            <a:ext cx="2752404" cy="751481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8" name="Google Shape;1431;p39">
            <a:extLst>
              <a:ext uri="{FF2B5EF4-FFF2-40B4-BE49-F238E27FC236}">
                <a16:creationId xmlns="" xmlns:a16="http://schemas.microsoft.com/office/drawing/2014/main" id="{ECC87C68-6C35-544F-B1FF-C6DA66AD3546}"/>
              </a:ext>
            </a:extLst>
          </p:cNvPr>
          <p:cNvSpPr/>
          <p:nvPr/>
        </p:nvSpPr>
        <p:spPr>
          <a:xfrm>
            <a:off x="4460084" y="1628800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Marcador de texto 31">
            <a:extLst>
              <a:ext uri="{FF2B5EF4-FFF2-40B4-BE49-F238E27FC236}">
                <a16:creationId xmlns="" xmlns:a16="http://schemas.microsoft.com/office/drawing/2014/main" id="{C242E45A-E93F-0D4F-A06B-F53174E79612}"/>
              </a:ext>
            </a:extLst>
          </p:cNvPr>
          <p:cNvSpPr txBox="1">
            <a:spLocks/>
          </p:cNvSpPr>
          <p:nvPr/>
        </p:nvSpPr>
        <p:spPr>
          <a:xfrm>
            <a:off x="4568822" y="1662015"/>
            <a:ext cx="274316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rgbClr val="15C047"/>
                </a:solidFill>
                <a:latin typeface="ACHS Nueva Sans SemiBold" pitchFamily="2" charset="77"/>
              </a:rPr>
              <a:t>2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61" name="Marcador de texto 31">
            <a:extLst>
              <a:ext uri="{FF2B5EF4-FFF2-40B4-BE49-F238E27FC236}">
                <a16:creationId xmlns="" xmlns:a16="http://schemas.microsoft.com/office/drawing/2014/main" id="{B09448BC-E018-3B42-9663-E993B23D6B9E}"/>
              </a:ext>
            </a:extLst>
          </p:cNvPr>
          <p:cNvSpPr txBox="1">
            <a:spLocks/>
          </p:cNvSpPr>
          <p:nvPr/>
        </p:nvSpPr>
        <p:spPr>
          <a:xfrm>
            <a:off x="5247501" y="1869964"/>
            <a:ext cx="2039461" cy="30882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bg1"/>
                </a:solidFill>
                <a:latin typeface="ACHS Nueva Serif" pitchFamily="2" charset="77"/>
              </a:rPr>
              <a:t>Estrobado brida</a:t>
            </a:r>
          </a:p>
        </p:txBody>
      </p:sp>
      <p:sp>
        <p:nvSpPr>
          <p:cNvPr id="63" name="Google Shape;1428;p39">
            <a:extLst>
              <a:ext uri="{FF2B5EF4-FFF2-40B4-BE49-F238E27FC236}">
                <a16:creationId xmlns="" xmlns:a16="http://schemas.microsoft.com/office/drawing/2014/main" id="{69BF9B0F-D0E8-CB43-A906-ED497442B990}"/>
              </a:ext>
            </a:extLst>
          </p:cNvPr>
          <p:cNvSpPr/>
          <p:nvPr/>
        </p:nvSpPr>
        <p:spPr>
          <a:xfrm>
            <a:off x="8689082" y="1632216"/>
            <a:ext cx="2736090" cy="751481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64" name="Google Shape;1431;p39">
            <a:extLst>
              <a:ext uri="{FF2B5EF4-FFF2-40B4-BE49-F238E27FC236}">
                <a16:creationId xmlns="" xmlns:a16="http://schemas.microsoft.com/office/drawing/2014/main" id="{DD93C0AB-B2D3-DD41-998C-325713E1F74A}"/>
              </a:ext>
            </a:extLst>
          </p:cNvPr>
          <p:cNvSpPr/>
          <p:nvPr/>
        </p:nvSpPr>
        <p:spPr>
          <a:xfrm>
            <a:off x="8289715" y="1628800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31">
            <a:extLst>
              <a:ext uri="{FF2B5EF4-FFF2-40B4-BE49-F238E27FC236}">
                <a16:creationId xmlns="" xmlns:a16="http://schemas.microsoft.com/office/drawing/2014/main" id="{18E56577-42D9-DB40-8E85-FE449B577B14}"/>
              </a:ext>
            </a:extLst>
          </p:cNvPr>
          <p:cNvSpPr txBox="1">
            <a:spLocks/>
          </p:cNvSpPr>
          <p:nvPr/>
        </p:nvSpPr>
        <p:spPr>
          <a:xfrm>
            <a:off x="8389652" y="1665170"/>
            <a:ext cx="58746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rgbClr val="15C047"/>
                </a:solidFill>
                <a:latin typeface="ACHS Nueva Sans SemiBold" pitchFamily="2" charset="77"/>
              </a:rPr>
              <a:t>3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66" name="Marcador de texto 31">
            <a:extLst>
              <a:ext uri="{FF2B5EF4-FFF2-40B4-BE49-F238E27FC236}">
                <a16:creationId xmlns="" xmlns:a16="http://schemas.microsoft.com/office/drawing/2014/main" id="{6CB8CF5B-1529-274F-9482-D9840BC8DA6B}"/>
              </a:ext>
            </a:extLst>
          </p:cNvPr>
          <p:cNvSpPr txBox="1">
            <a:spLocks/>
          </p:cNvSpPr>
          <p:nvPr/>
        </p:nvSpPr>
        <p:spPr>
          <a:xfrm>
            <a:off x="9077132" y="1862803"/>
            <a:ext cx="2348254" cy="30882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bg1"/>
                </a:solidFill>
                <a:latin typeface="ACHS Nueva Serif" pitchFamily="2" charset="77"/>
              </a:rPr>
              <a:t>Estrobado tirante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chemeClr val="bg1"/>
              </a:solidFill>
              <a:latin typeface="ACHS Nueva Serif" pitchFamily="2" charset="77"/>
            </a:endParaRPr>
          </a:p>
        </p:txBody>
      </p:sp>
      <p:sp>
        <p:nvSpPr>
          <p:cNvPr id="67" name="Marcador de texto 31">
            <a:extLst>
              <a:ext uri="{FF2B5EF4-FFF2-40B4-BE49-F238E27FC236}">
                <a16:creationId xmlns="" xmlns:a16="http://schemas.microsoft.com/office/drawing/2014/main" id="{DF757402-91AC-BC4B-BA9F-7EF79EF1F1D8}"/>
              </a:ext>
            </a:extLst>
          </p:cNvPr>
          <p:cNvSpPr txBox="1">
            <a:spLocks/>
          </p:cNvSpPr>
          <p:nvPr/>
        </p:nvSpPr>
        <p:spPr>
          <a:xfrm>
            <a:off x="676792" y="2604079"/>
            <a:ext cx="3256046" cy="838486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Mueve troza a corta distancia. Permite facilitar estrobado posterior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68" name="Marcador de texto 31">
            <a:extLst>
              <a:ext uri="{FF2B5EF4-FFF2-40B4-BE49-F238E27FC236}">
                <a16:creationId xmlns="" xmlns:a16="http://schemas.microsoft.com/office/drawing/2014/main" id="{C47483B4-1391-D14D-92BF-6A117392BE7E}"/>
              </a:ext>
            </a:extLst>
          </p:cNvPr>
          <p:cNvSpPr txBox="1">
            <a:spLocks/>
          </p:cNvSpPr>
          <p:nvPr/>
        </p:nvSpPr>
        <p:spPr>
          <a:xfrm>
            <a:off x="4581070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Para trozas grandes usando un           solo estrobo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69" name="Marcador de texto 31">
            <a:extLst>
              <a:ext uri="{FF2B5EF4-FFF2-40B4-BE49-F238E27FC236}">
                <a16:creationId xmlns="" xmlns:a16="http://schemas.microsoft.com/office/drawing/2014/main" id="{AA255C4D-EFC2-0345-9517-37F465E8AFE7}"/>
              </a:ext>
            </a:extLst>
          </p:cNvPr>
          <p:cNvSpPr txBox="1">
            <a:spLocks/>
          </p:cNvSpPr>
          <p:nvPr/>
        </p:nvSpPr>
        <p:spPr>
          <a:xfrm>
            <a:off x="8493573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Para mover trozos o desechos                  del bosque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513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5F38E46E-6D7B-DF46-A2E1-E4798354DB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5" name="Conector recto 6">
            <a:extLst>
              <a:ext uri="{FF2B5EF4-FFF2-40B4-BE49-F238E27FC236}">
                <a16:creationId xmlns="" xmlns:a16="http://schemas.microsoft.com/office/drawing/2014/main" id="{0B2D8891-CE0F-EE46-8252-E1F0A30466F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2700247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FA7EC956-FB29-3A4D-861A-CEF556AD4AE0}"/>
              </a:ext>
            </a:extLst>
          </p:cNvPr>
          <p:cNvGrpSpPr/>
          <p:nvPr/>
        </p:nvGrpSpPr>
        <p:grpSpPr>
          <a:xfrm>
            <a:off x="2467090" y="1628775"/>
            <a:ext cx="7259408" cy="3924528"/>
            <a:chOff x="577708" y="1621937"/>
            <a:chExt cx="7259408" cy="3924528"/>
          </a:xfrm>
        </p:grpSpPr>
        <p:pic>
          <p:nvPicPr>
            <p:cNvPr id="24" name="Picture 2"/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0830" y="3917664"/>
              <a:ext cx="3346286" cy="161828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34" name="Marcador de texto 31">
              <a:extLst>
                <a:ext uri="{FF2B5EF4-FFF2-40B4-BE49-F238E27FC236}">
                  <a16:creationId xmlns="" xmlns:a16="http://schemas.microsoft.com/office/drawing/2014/main" id="{BD869C79-D573-5A42-A9A7-38BC9DC42C05}"/>
                </a:ext>
              </a:extLst>
            </p:cNvPr>
            <p:cNvSpPr txBox="1">
              <a:spLocks/>
            </p:cNvSpPr>
            <p:nvPr/>
          </p:nvSpPr>
          <p:spPr>
            <a:xfrm>
              <a:off x="676792" y="2604079"/>
              <a:ext cx="3256046" cy="838486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es-ES" sz="1371" kern="0" dirty="0">
                  <a:solidFill>
                    <a:schemeClr val="tx1"/>
                  </a:solidFill>
                  <a:latin typeface="ACHS Nueva Sans Medium" pitchFamily="2" charset="77"/>
                </a:rPr>
                <a:t>Con suplemento estrobo para que alcance troza distante.</a:t>
              </a:r>
              <a:endParaRPr lang="es-CL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ES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CL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ES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CL" sz="1676" kern="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35" name="Marcador de texto 31">
              <a:extLst>
                <a:ext uri="{FF2B5EF4-FFF2-40B4-BE49-F238E27FC236}">
                  <a16:creationId xmlns="" xmlns:a16="http://schemas.microsoft.com/office/drawing/2014/main" id="{BD869C79-D573-5A42-A9A7-38BC9DC42C05}"/>
                </a:ext>
              </a:extLst>
            </p:cNvPr>
            <p:cNvSpPr txBox="1">
              <a:spLocks/>
            </p:cNvSpPr>
            <p:nvPr/>
          </p:nvSpPr>
          <p:spPr>
            <a:xfrm>
              <a:off x="4581070" y="2602789"/>
              <a:ext cx="3256046" cy="771348"/>
            </a:xfrm>
            <a:prstGeom prst="rect">
              <a:avLst/>
            </a:prstGeom>
          </p:spPr>
          <p:txBody>
            <a:bodyPr>
              <a:normAutofit fontScale="92500" lnSpcReduction="10000"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es-ES" sz="1371" kern="0" dirty="0">
                  <a:solidFill>
                    <a:schemeClr val="tx1"/>
                  </a:solidFill>
                  <a:latin typeface="ACHS Nueva Sans Medium" pitchFamily="2" charset="77"/>
                </a:rPr>
                <a:t>Para acercar troza a línea, usando una cola para estrobo o saltar tocón/obstáculo.</a:t>
              </a:r>
              <a:endParaRPr lang="es-CL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ES" sz="1371" kern="0" dirty="0">
                <a:solidFill>
                  <a:schemeClr val="tx1"/>
                </a:solidFill>
                <a:latin typeface="ACHS Nueva Sans Medium" pitchFamily="2" charset="77"/>
              </a:endParaRPr>
            </a:p>
            <a:p>
              <a:pPr marL="0" indent="0">
                <a:lnSpc>
                  <a:spcPct val="120000"/>
                </a:lnSpc>
                <a:spcBef>
                  <a:spcPts val="0"/>
                </a:spcBef>
                <a:buNone/>
              </a:pPr>
              <a:endParaRPr lang="es-CL" sz="1676" kern="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pic>
          <p:nvPicPr>
            <p:cNvPr id="26" name="Picture 2"/>
            <p:cNvPicPr>
              <a:picLocks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719" t="9999" r="7365" b="14001"/>
            <a:stretch/>
          </p:blipFill>
          <p:spPr bwMode="auto">
            <a:xfrm>
              <a:off x="628557" y="3928179"/>
              <a:ext cx="3346286" cy="16182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7" name="Google Shape;1428;p39">
              <a:extLst>
                <a:ext uri="{FF2B5EF4-FFF2-40B4-BE49-F238E27FC236}">
                  <a16:creationId xmlns="" xmlns:a16="http://schemas.microsoft.com/office/drawing/2014/main" id="{754398FF-96E6-E24C-9D1F-3189BC5467EB}"/>
                </a:ext>
              </a:extLst>
            </p:cNvPr>
            <p:cNvSpPr/>
            <p:nvPr/>
          </p:nvSpPr>
          <p:spPr>
            <a:xfrm>
              <a:off x="977076" y="1625353"/>
              <a:ext cx="2736090" cy="751481"/>
            </a:xfrm>
            <a:prstGeom prst="rect">
              <a:avLst/>
            </a:prstGeom>
            <a:solidFill>
              <a:srgbClr val="15C047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29" name="Google Shape;1431;p39">
              <a:extLst>
                <a:ext uri="{FF2B5EF4-FFF2-40B4-BE49-F238E27FC236}">
                  <a16:creationId xmlns="" xmlns:a16="http://schemas.microsoft.com/office/drawing/2014/main" id="{5D829399-243B-5E44-A8E2-7F2CBE90F00F}"/>
                </a:ext>
              </a:extLst>
            </p:cNvPr>
            <p:cNvSpPr/>
            <p:nvPr/>
          </p:nvSpPr>
          <p:spPr>
            <a:xfrm>
              <a:off x="577708" y="1621937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Marcador de texto 31">
              <a:extLst>
                <a:ext uri="{FF2B5EF4-FFF2-40B4-BE49-F238E27FC236}">
                  <a16:creationId xmlns="" xmlns:a16="http://schemas.microsoft.com/office/drawing/2014/main" id="{F21B1D9E-0712-F54D-8952-04978108F4F1}"/>
                </a:ext>
              </a:extLst>
            </p:cNvPr>
            <p:cNvSpPr txBox="1">
              <a:spLocks/>
            </p:cNvSpPr>
            <p:nvPr/>
          </p:nvSpPr>
          <p:spPr>
            <a:xfrm>
              <a:off x="640234" y="1662015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rgbClr val="15C047"/>
                  </a:solidFill>
                  <a:latin typeface="ACHS Nueva Sans SemiBold" pitchFamily="2" charset="77"/>
                </a:rPr>
                <a:t>4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rgbClr val="15C047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rgbClr val="15C047"/>
                </a:solidFill>
                <a:latin typeface="ACHS Nueva Sans SemiBold" pitchFamily="2" charset="77"/>
              </a:endParaRPr>
            </a:p>
          </p:txBody>
        </p:sp>
        <p:sp>
          <p:nvSpPr>
            <p:cNvPr id="32" name="Marcador de texto 31">
              <a:extLst>
                <a:ext uri="{FF2B5EF4-FFF2-40B4-BE49-F238E27FC236}">
                  <a16:creationId xmlns="" xmlns:a16="http://schemas.microsoft.com/office/drawing/2014/main" id="{341011E3-3AD4-9F41-B747-7C28E3813589}"/>
                </a:ext>
              </a:extLst>
            </p:cNvPr>
            <p:cNvSpPr txBox="1">
              <a:spLocks/>
            </p:cNvSpPr>
            <p:nvPr/>
          </p:nvSpPr>
          <p:spPr>
            <a:xfrm>
              <a:off x="1371164" y="1859685"/>
              <a:ext cx="2374223" cy="3801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chemeClr val="bg1"/>
                  </a:solidFill>
                  <a:latin typeface="ACHS Nueva Serif" pitchFamily="2" charset="77"/>
                </a:rPr>
                <a:t>Estrobado cola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chemeClr val="bg1"/>
                </a:solidFill>
                <a:latin typeface="ACHS Nueva Serif" pitchFamily="2" charset="77"/>
              </a:endParaRPr>
            </a:p>
          </p:txBody>
        </p:sp>
        <p:sp>
          <p:nvSpPr>
            <p:cNvPr id="33" name="Google Shape;1428;p39">
              <a:extLst>
                <a:ext uri="{FF2B5EF4-FFF2-40B4-BE49-F238E27FC236}">
                  <a16:creationId xmlns="" xmlns:a16="http://schemas.microsoft.com/office/drawing/2014/main" id="{C0262082-0C9E-0F49-986B-7B629D5AEC79}"/>
                </a:ext>
              </a:extLst>
            </p:cNvPr>
            <p:cNvSpPr/>
            <p:nvPr/>
          </p:nvSpPr>
          <p:spPr>
            <a:xfrm>
              <a:off x="4843138" y="1632216"/>
              <a:ext cx="2752404" cy="751481"/>
            </a:xfrm>
            <a:prstGeom prst="rect">
              <a:avLst/>
            </a:prstGeom>
            <a:solidFill>
              <a:srgbClr val="15C047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36" name="Google Shape;1431;p39">
              <a:extLst>
                <a:ext uri="{FF2B5EF4-FFF2-40B4-BE49-F238E27FC236}">
                  <a16:creationId xmlns="" xmlns:a16="http://schemas.microsoft.com/office/drawing/2014/main" id="{31E59FAF-37D4-6946-9B27-D0A71CAC32B0}"/>
                </a:ext>
              </a:extLst>
            </p:cNvPr>
            <p:cNvSpPr/>
            <p:nvPr/>
          </p:nvSpPr>
          <p:spPr>
            <a:xfrm>
              <a:off x="4460084" y="1628800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Marcador de texto 31">
              <a:extLst>
                <a:ext uri="{FF2B5EF4-FFF2-40B4-BE49-F238E27FC236}">
                  <a16:creationId xmlns="" xmlns:a16="http://schemas.microsoft.com/office/drawing/2014/main" id="{3F6F3FE1-9FFF-1D40-8FC3-D55C6E34E220}"/>
                </a:ext>
              </a:extLst>
            </p:cNvPr>
            <p:cNvSpPr txBox="1">
              <a:spLocks/>
            </p:cNvSpPr>
            <p:nvPr/>
          </p:nvSpPr>
          <p:spPr>
            <a:xfrm>
              <a:off x="4568822" y="1662015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rgbClr val="15C047"/>
                  </a:solidFill>
                  <a:latin typeface="ACHS Nueva Sans SemiBold" pitchFamily="2" charset="77"/>
                </a:rPr>
                <a:t>5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rgbClr val="15C047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rgbClr val="15C047"/>
                </a:solidFill>
                <a:latin typeface="ACHS Nueva Sans SemiBold" pitchFamily="2" charset="77"/>
              </a:endParaRPr>
            </a:p>
          </p:txBody>
        </p:sp>
        <p:sp>
          <p:nvSpPr>
            <p:cNvPr id="43" name="Marcador de texto 31">
              <a:extLst>
                <a:ext uri="{FF2B5EF4-FFF2-40B4-BE49-F238E27FC236}">
                  <a16:creationId xmlns="" xmlns:a16="http://schemas.microsoft.com/office/drawing/2014/main" id="{293C4B68-D677-014F-8F00-D2C4E422EDE3}"/>
                </a:ext>
              </a:extLst>
            </p:cNvPr>
            <p:cNvSpPr txBox="1">
              <a:spLocks/>
            </p:cNvSpPr>
            <p:nvPr/>
          </p:nvSpPr>
          <p:spPr>
            <a:xfrm>
              <a:off x="5247501" y="1869964"/>
              <a:ext cx="2039461" cy="30882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chemeClr val="bg1"/>
                  </a:solidFill>
                  <a:latin typeface="ACHS Nueva Serif" pitchFamily="2" charset="77"/>
                </a:rPr>
                <a:t>Estrobado tiravira</a:t>
              </a:r>
            </a:p>
          </p:txBody>
        </p:sp>
      </p:grpSp>
      <p:sp>
        <p:nvSpPr>
          <p:cNvPr id="51" name="Título 30">
            <a:extLst>
              <a:ext uri="{FF2B5EF4-FFF2-40B4-BE49-F238E27FC236}">
                <a16:creationId xmlns="" xmlns:a16="http://schemas.microsoft.com/office/drawing/2014/main" id="{FEFCB5F8-22BA-544F-A7FD-C15B71243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 auxiliar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7234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83525E3A-DC8C-D647-BBEB-A2DF31C4D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7393890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8"/>
          <a:srcRect l="471" t="3659" r="16275" b="5907"/>
          <a:stretch/>
        </p:blipFill>
        <p:spPr>
          <a:xfrm>
            <a:off x="4484214" y="1512329"/>
            <a:ext cx="7708578" cy="5345671"/>
          </a:xfrm>
          <a:prstGeom prst="rect">
            <a:avLst/>
          </a:prstGeom>
        </p:spPr>
      </p:pic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A54F4314-B948-4547-9C4B-B69EAF9FED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751F2706-9C6E-2548-8B4D-CD07487A9E75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789333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Evaluar las condiciones en el lugar de madereo, considerando temas operacionales y seguridad. </a:t>
            </a: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Comunicarse con operador de torre a través de equipo                   de radio. </a:t>
            </a: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Avisar al operador sobre cualquier condición de peligro en forma oportuna.</a:t>
            </a: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La distancia de seguridad desde el estrobado a un frente de volteo es dos veces el largo de árbol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DADE7F91-634F-B34A-B6F5-7F3CAC6FF166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7685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83525E3A-DC8C-D647-BBEB-A2DF31C4D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8"/>
          <a:srcRect l="471" t="3659" r="16275" b="5907"/>
          <a:stretch/>
        </p:blipFill>
        <p:spPr>
          <a:xfrm>
            <a:off x="4484214" y="1512329"/>
            <a:ext cx="7708578" cy="5345671"/>
          </a:xfrm>
          <a:prstGeom prst="rect">
            <a:avLst/>
          </a:prstGeom>
        </p:spPr>
      </p:pic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A54F4314-B948-4547-9C4B-B69EAF9FED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751F2706-9C6E-2548-8B4D-CD07487A9E75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789333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Respecto del madereo son mínimo 15 metros               pendiente arriba. </a:t>
            </a:r>
          </a:p>
          <a:p>
            <a:pPr marL="261256" indent="-261256">
              <a:lnSpc>
                <a:spcPct val="100000"/>
              </a:lnSpc>
              <a:spcBef>
                <a:spcPts val="1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</a:rPr>
              <a:t>Cuando se encuentre estrobando cerca de soportes, la distancia de seguridad es de mínimo 1 largo de árbol del soporte al momento de iniciar el movimiento de fustes.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DADE7F91-634F-B34A-B6F5-7F3CAC6FF166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2508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8D4710F9-2EAC-0D45-BE9D-3F428F92374F}"/>
              </a:ext>
            </a:extLst>
          </p:cNvPr>
          <p:cNvSpPr txBox="1">
            <a:spLocks/>
          </p:cNvSpPr>
          <p:nvPr/>
        </p:nvSpPr>
        <p:spPr>
          <a:xfrm>
            <a:off x="595394" y="1673377"/>
            <a:ext cx="4513862" cy="5486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1829" b="1" kern="0" dirty="0">
                <a:solidFill>
                  <a:schemeClr val="tx1"/>
                </a:solidFill>
                <a:latin typeface="ACHS Nueva Serif" pitchFamily="2" charset="77"/>
              </a:rPr>
              <a:t>Estrobado:</a:t>
            </a:r>
          </a:p>
        </p:txBody>
      </p:sp>
      <p:pic>
        <p:nvPicPr>
          <p:cNvPr id="9" name="Picture 2" descr="C:\Users\Pc\AppData\Local\Temp\x10sctmp6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2" r="1738" b="1392"/>
          <a:stretch/>
        </p:blipFill>
        <p:spPr bwMode="auto">
          <a:xfrm>
            <a:off x="2712418" y="1423063"/>
            <a:ext cx="9229126" cy="5102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4493632D-BCBA-4D44-9675-7BBFD1A203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pic>
        <p:nvPicPr>
          <p:cNvPr id="12" name="Imagen 5">
            <a:extLst>
              <a:ext uri="{FF2B5EF4-FFF2-40B4-BE49-F238E27FC236}">
                <a16:creationId xmlns="" xmlns:a16="http://schemas.microsoft.com/office/drawing/2014/main" id="{14EAAADA-02AC-7549-843A-9AF4F52AA7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4" name="Conector recto 6">
            <a:extLst>
              <a:ext uri="{FF2B5EF4-FFF2-40B4-BE49-F238E27FC236}">
                <a16:creationId xmlns="" xmlns:a16="http://schemas.microsoft.com/office/drawing/2014/main" id="{8C70C66C-DDB2-BC47-8571-1DF1E3BE108F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2568402" y="1484784"/>
            <a:ext cx="2808312" cy="72481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s-MX" sz="1370" dirty="0" smtClean="0">
                <a:latin typeface="ACHS Nueva Sans" pitchFamily="2" charset="0"/>
              </a:rPr>
              <a:t>Recuerda posicionarte a mínimo 15 metros alejado de línea de </a:t>
            </a:r>
            <a:r>
              <a:rPr lang="es-MX" sz="1370" dirty="0" err="1" smtClean="0">
                <a:latin typeface="ACHS Nueva Sans" pitchFamily="2" charset="0"/>
              </a:rPr>
              <a:t>madereo</a:t>
            </a:r>
            <a:r>
              <a:rPr lang="es-MX" sz="1370" dirty="0" smtClean="0">
                <a:latin typeface="ACHS Nueva Sans" pitchFamily="2" charset="0"/>
              </a:rPr>
              <a:t> a la espera del carro.</a:t>
            </a:r>
            <a:endParaRPr lang="es-CL" sz="1370" dirty="0">
              <a:latin typeface="ACHS Nueva Sans" pitchFamily="2" charset="0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2496394" y="5877272"/>
            <a:ext cx="2808312" cy="513987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s-MX" sz="1370" dirty="0" smtClean="0">
                <a:latin typeface="ACHS Nueva Sans" pitchFamily="2" charset="0"/>
              </a:rPr>
              <a:t>Amarra a 50 cm. de base de árbol.</a:t>
            </a:r>
            <a:endParaRPr lang="es-CL" sz="1370" dirty="0">
              <a:latin typeface="ACHS Nueva Sans" pitchFamily="2" charset="0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9904161" y="1805104"/>
            <a:ext cx="2005369" cy="93564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s-MX" sz="1370" dirty="0" smtClean="0">
                <a:latin typeface="ACHS Nueva Sans" pitchFamily="2" charset="0"/>
              </a:rPr>
              <a:t>Ingresa a recoger estrobos y cables de arrastre cuando carro esté detenido.</a:t>
            </a:r>
            <a:endParaRPr lang="es-CL" sz="1370" dirty="0">
              <a:latin typeface="ACHS Nueva Sans" pitchFamily="2" charset="0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201250" y="5409451"/>
            <a:ext cx="1740294" cy="114646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s-MX" sz="1370" dirty="0" err="1">
                <a:latin typeface="ACHS Nueva Sans" pitchFamily="2" charset="0"/>
              </a:rPr>
              <a:t>Estroba</a:t>
            </a:r>
            <a:r>
              <a:rPr lang="es-MX" sz="1370" dirty="0">
                <a:latin typeface="ACHS Nueva Sans" pitchFamily="2" charset="0"/>
              </a:rPr>
              <a:t> siempre los fustes que se encuentran arriba. Nunca los aplastados.</a:t>
            </a:r>
            <a:endParaRPr lang="es-CL" sz="1370" dirty="0">
              <a:latin typeface="ACHS Nueva Sans" pitchFamily="2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0036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884482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9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BC724135-DEB7-1046-96CA-166DDBE01A3C}"/>
              </a:ext>
            </a:extLst>
          </p:cNvPr>
          <p:cNvGrpSpPr/>
          <p:nvPr/>
        </p:nvGrpSpPr>
        <p:grpSpPr>
          <a:xfrm>
            <a:off x="7402202" y="1484313"/>
            <a:ext cx="4791386" cy="5373687"/>
            <a:chOff x="6094852" y="9485"/>
            <a:chExt cx="6097943" cy="6839030"/>
          </a:xfrm>
        </p:grpSpPr>
        <p:pic>
          <p:nvPicPr>
            <p:cNvPr id="9" name="8 Imagen"/>
            <p:cNvPicPr/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422" y="9485"/>
              <a:ext cx="6095370" cy="343822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noFill/>
            </a:ln>
            <a:effectLst/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</p:spPr>
        </p:pic>
        <p:pic>
          <p:nvPicPr>
            <p:cNvPr id="10" name="8 Imagen"/>
            <p:cNvPicPr/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4852" y="3438229"/>
              <a:ext cx="6097943" cy="341028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noFill/>
            </a:ln>
            <a:effectLst/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</p:spPr>
        </p:pic>
      </p:grpSp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4D1A981F-4502-3144-AA34-ED567EC6C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5FADD678-547F-4147-BC17-875A5C42D5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1A5D33A1-5150-5F45-BEC2-C217E25625E4}"/>
              </a:ext>
            </a:extLst>
          </p:cNvPr>
          <p:cNvSpPr txBox="1">
            <a:spLocks/>
          </p:cNvSpPr>
          <p:nvPr/>
        </p:nvSpPr>
        <p:spPr>
          <a:xfrm>
            <a:off x="568550" y="1440323"/>
            <a:ext cx="5960838" cy="940550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endParaRPr lang="es-CL" sz="1800" kern="0" dirty="0">
              <a:solidFill>
                <a:srgbClr val="15C047"/>
              </a:solidFill>
              <a:latin typeface="ACHS Nueva Serif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</a:rPr>
              <a:t>Considerar estrobar siempre los fustes que se encuentran arriba de otros, nunca aprisionados. 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</a:rPr>
              <a:t>Se recomienda amarrar a 50 centímetros de la base                del árbol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</a:rPr>
              <a:t>Conocer la capacidad máxima de arrastre de la máquina, para seleccionar una carga homogénea, sin sobrecargar   el equipo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Campana o deslizador de estrobo debe quedar con abertura hacia fuera para que no se contamine y           dificulte soltar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Transitar con precaución entre los </a:t>
            </a:r>
            <a:r>
              <a:rPr lang="es-CL" sz="1600" dirty="0" smtClean="0">
                <a:latin typeface="ACHS Nueva Sans Medium" pitchFamily="2" charset="77"/>
              </a:rPr>
              <a:t>árboles</a:t>
            </a:r>
            <a:r>
              <a:rPr lang="es-CL" sz="1600" dirty="0">
                <a:latin typeface="ACHS Nueva Sans Medium" pitchFamily="2" charset="77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endParaRPr lang="es-CL" sz="1800" kern="0" dirty="0">
              <a:solidFill>
                <a:srgbClr val="15C047"/>
              </a:solidFill>
              <a:latin typeface="ACHS Nueva Serif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D5F6BBD9-8F44-9147-AD0B-BF98CB47DD9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E41D3B42-2BBF-0449-B25A-1F48F63C4B21}"/>
              </a:ext>
            </a:extLst>
          </p:cNvPr>
          <p:cNvSpPr txBox="1"/>
          <p:nvPr/>
        </p:nvSpPr>
        <p:spPr>
          <a:xfrm>
            <a:off x="14107886" y="2514600"/>
            <a:ext cx="18473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6563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719F93A3-653F-4F4B-92DA-2225855D09B4}"/>
              </a:ext>
            </a:extLst>
          </p:cNvPr>
          <p:cNvGrpSpPr/>
          <p:nvPr/>
        </p:nvGrpSpPr>
        <p:grpSpPr>
          <a:xfrm>
            <a:off x="7415097" y="1484313"/>
            <a:ext cx="4777696" cy="5364202"/>
            <a:chOff x="6093074" y="0"/>
            <a:chExt cx="6099719" cy="6848515"/>
          </a:xfrm>
        </p:grpSpPr>
        <p:pic>
          <p:nvPicPr>
            <p:cNvPr id="13" name="16 Imagen"/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4335" y="3438229"/>
              <a:ext cx="6088457" cy="341028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noFill/>
            </a:ln>
            <a:effectLst/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</p:spPr>
        </p:pic>
        <p:pic>
          <p:nvPicPr>
            <p:cNvPr id="12" name="15 Imagen"/>
            <p:cNvPicPr/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3074" y="0"/>
              <a:ext cx="6099719" cy="343822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noFill/>
            </a:ln>
            <a:effectLst/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</p:spPr>
        </p:pic>
      </p:grpSp>
      <p:sp>
        <p:nvSpPr>
          <p:cNvPr id="20" name="Título 30">
            <a:extLst>
              <a:ext uri="{FF2B5EF4-FFF2-40B4-BE49-F238E27FC236}">
                <a16:creationId xmlns="" xmlns:a16="http://schemas.microsoft.com/office/drawing/2014/main" id="{68F3D482-EB5E-434A-BFDB-8D017AB07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pic>
        <p:nvPicPr>
          <p:cNvPr id="22" name="Imagen 5">
            <a:extLst>
              <a:ext uri="{FF2B5EF4-FFF2-40B4-BE49-F238E27FC236}">
                <a16:creationId xmlns="" xmlns:a16="http://schemas.microsoft.com/office/drawing/2014/main" id="{6680870F-A557-1647-A09F-927249B2FD7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23" name="Marcador de texto 31">
            <a:extLst>
              <a:ext uri="{FF2B5EF4-FFF2-40B4-BE49-F238E27FC236}">
                <a16:creationId xmlns="" xmlns:a16="http://schemas.microsoft.com/office/drawing/2014/main" id="{4EB0D451-56DD-D44E-AAC5-64E65FEC9D19}"/>
              </a:ext>
            </a:extLst>
          </p:cNvPr>
          <p:cNvSpPr txBox="1">
            <a:spLocks/>
          </p:cNvSpPr>
          <p:nvPr/>
        </p:nvSpPr>
        <p:spPr>
          <a:xfrm>
            <a:off x="568550" y="1440323"/>
            <a:ext cx="5960292" cy="940550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Zona de seguridad en el madereo: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None/>
            </a:pPr>
            <a:endParaRPr lang="es-CL" sz="1600" kern="0" dirty="0">
              <a:solidFill>
                <a:srgbClr val="15C047"/>
              </a:solidFill>
              <a:latin typeface="ACHS Nueva Sans Medium" pitchFamily="2" charset="77"/>
            </a:endParaRP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Mínimo un largo de árbol entre máquina  y personas.</a:t>
            </a: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Cuando realice aviso por radio de tirar al operador, el estrobero debe estar ubicado en zona de seguridad, a una distancia  donde no sea alcanzado por el árbol. </a:t>
            </a: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e recomienda no sea menor a 15 metros pendiente arriba o un largo de árbol de soportes.</a:t>
            </a: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73050" indent="-260350">
              <a:lnSpc>
                <a:spcPct val="100000"/>
              </a:lnSpc>
              <a:spcBef>
                <a:spcPts val="5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600" dirty="0">
                <a:latin typeface="ACHS Nueva Sans Medium" pitchFamily="2" charset="77"/>
              </a:rPr>
              <a:t>Cuando realice aviso por radio de tirar al operador, el estrobero debe estar ubicado en zona de seguridad, a una distancia donde no sea alcanzado por árbol. Se recomienda no sea menor a 15 metros pendiente arriba o un largo de árbol de soportes.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endParaRPr lang="es-CL" sz="1800" kern="0" dirty="0">
              <a:solidFill>
                <a:srgbClr val="15C047"/>
              </a:solidFill>
              <a:latin typeface="ACHS Nueva Serif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3532AA16-3C25-AD43-AE7F-EC08E8BD266E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A40D1AA3-A73A-FC47-9AE0-9FCD2543C6EE}"/>
              </a:ext>
            </a:extLst>
          </p:cNvPr>
          <p:cNvSpPr txBox="1"/>
          <p:nvPr/>
        </p:nvSpPr>
        <p:spPr>
          <a:xfrm>
            <a:off x="14107886" y="2514600"/>
            <a:ext cx="18473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34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ángulo 20">
            <a:extLst>
              <a:ext uri="{FF2B5EF4-FFF2-40B4-BE49-F238E27FC236}">
                <a16:creationId xmlns="" xmlns:a16="http://schemas.microsoft.com/office/drawing/2014/main" id="{702166F7-6047-5E48-BE09-28B3374FBC92}"/>
              </a:ext>
            </a:extLst>
          </p:cNvPr>
          <p:cNvSpPr/>
          <p:nvPr/>
        </p:nvSpPr>
        <p:spPr>
          <a:xfrm>
            <a:off x="0" y="159"/>
            <a:ext cx="6173003" cy="6858893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 dirty="0"/>
          </a:p>
        </p:txBody>
      </p:sp>
      <p:sp>
        <p:nvSpPr>
          <p:cNvPr id="46" name="Título 30">
            <a:extLst>
              <a:ext uri="{FF2B5EF4-FFF2-40B4-BE49-F238E27FC236}">
                <a16:creationId xmlns="" xmlns:a16="http://schemas.microsoft.com/office/drawing/2014/main" id="{E581FB47-DC09-C344-B566-7067FFC0CCA5}"/>
              </a:ext>
            </a:extLst>
          </p:cNvPr>
          <p:cNvSpPr txBox="1">
            <a:spLocks/>
          </p:cNvSpPr>
          <p:nvPr/>
        </p:nvSpPr>
        <p:spPr>
          <a:xfrm>
            <a:off x="-1171794" y="494999"/>
            <a:ext cx="4711019" cy="464911"/>
          </a:xfrm>
          <a:prstGeom prst="rect">
            <a:avLst/>
          </a:prstGeom>
        </p:spPr>
        <p:txBody>
          <a:bodyPr vert="horz" lIns="109742" tIns="54871" rIns="109742" bIns="54871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Objetivos</a:t>
            </a: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060766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5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Imagen 5">
            <a:extLst>
              <a:ext uri="{FF2B5EF4-FFF2-40B4-BE49-F238E27FC236}">
                <a16:creationId xmlns="" xmlns:a16="http://schemas.microsoft.com/office/drawing/2014/main" id="{C2C6696A-7735-0141-A9F6-4DCCDE34A7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39" name="Conector recto 6">
            <a:extLst>
              <a:ext uri="{FF2B5EF4-FFF2-40B4-BE49-F238E27FC236}">
                <a16:creationId xmlns="" xmlns:a16="http://schemas.microsoft.com/office/drawing/2014/main" id="{83F72745-A699-4742-A9E5-B4703022FCB5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21 Rectángulo">
            <a:extLst>
              <a:ext uri="{FF2B5EF4-FFF2-40B4-BE49-F238E27FC236}">
                <a16:creationId xmlns="" xmlns:a16="http://schemas.microsoft.com/office/drawing/2014/main" id="{F2C0D02C-3C5A-6C4A-9B2F-79F3C20D45AC}"/>
              </a:ext>
            </a:extLst>
          </p:cNvPr>
          <p:cNvSpPr/>
          <p:nvPr/>
        </p:nvSpPr>
        <p:spPr>
          <a:xfrm>
            <a:off x="1128352" y="2979594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41" name="18 Rectángulo">
            <a:extLst>
              <a:ext uri="{FF2B5EF4-FFF2-40B4-BE49-F238E27FC236}">
                <a16:creationId xmlns="" xmlns:a16="http://schemas.microsoft.com/office/drawing/2014/main" id="{BBA07400-CAD6-FC45-8C08-58E6E151BB76}"/>
              </a:ext>
            </a:extLst>
          </p:cNvPr>
          <p:cNvSpPr/>
          <p:nvPr/>
        </p:nvSpPr>
        <p:spPr>
          <a:xfrm>
            <a:off x="6748367" y="3438203"/>
            <a:ext cx="47494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1290" indent="-26129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er trabajador de empresas que se encuentra adheridas a la </a:t>
            </a:r>
            <a:r>
              <a:rPr lang="es-CL" sz="1600" dirty="0" smtClean="0">
                <a:latin typeface="ACHS Nueva Sans Medium" pitchFamily="2" charset="77"/>
              </a:rPr>
              <a:t>ACHS.</a:t>
            </a:r>
            <a:endParaRPr lang="es-CL" sz="1600" dirty="0">
              <a:latin typeface="ACHS Nueva Sans Medium" pitchFamily="2" charset="77"/>
              <a:sym typeface="Helvetica" charset="0"/>
            </a:endParaRPr>
          </a:p>
          <a:p>
            <a:pPr>
              <a:buClr>
                <a:srgbClr val="15C047"/>
              </a:buClr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2" name="21 Rectángulo">
            <a:extLst>
              <a:ext uri="{FF2B5EF4-FFF2-40B4-BE49-F238E27FC236}">
                <a16:creationId xmlns="" xmlns:a16="http://schemas.microsoft.com/office/drawing/2014/main" id="{E9682350-1474-3C42-8693-D691C8D1C6B9}"/>
              </a:ext>
            </a:extLst>
          </p:cNvPr>
          <p:cNvSpPr/>
          <p:nvPr/>
        </p:nvSpPr>
        <p:spPr>
          <a:xfrm>
            <a:off x="1128353" y="3446862"/>
            <a:ext cx="43066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1290" indent="-26129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MX" sz="1600" dirty="0">
                <a:latin typeface="ACHS Nueva Sans Medium" pitchFamily="2" charset="77"/>
              </a:rPr>
              <a:t>Aplicar prácticas seguras en las labores de estrobero de torre de madereo, según los lineamientos de  la ACHS.</a:t>
            </a:r>
            <a:endParaRPr lang="es-CL" sz="1600" dirty="0">
              <a:latin typeface="ACHS Nueva Sans Medium" pitchFamily="2" charset="77"/>
            </a:endParaRPr>
          </a:p>
          <a:p>
            <a:pPr>
              <a:buClr>
                <a:srgbClr val="15C047"/>
              </a:buClr>
            </a:pPr>
            <a:endParaRPr lang="es-CL" sz="1600" dirty="0">
              <a:latin typeface="ACHS Nueva Sans Medium" pitchFamily="2" charset="77"/>
            </a:endParaRPr>
          </a:p>
          <a:p>
            <a:pPr>
              <a:buClr>
                <a:srgbClr val="15C047"/>
              </a:buClr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3" name="21 Rectángulo">
            <a:extLst>
              <a:ext uri="{FF2B5EF4-FFF2-40B4-BE49-F238E27FC236}">
                <a16:creationId xmlns="" xmlns:a16="http://schemas.microsoft.com/office/drawing/2014/main" id="{B51069CB-418E-984F-ADA3-EA71D337DF9E}"/>
              </a:ext>
            </a:extLst>
          </p:cNvPr>
          <p:cNvSpPr/>
          <p:nvPr/>
        </p:nvSpPr>
        <p:spPr>
          <a:xfrm>
            <a:off x="6752027" y="2970936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0A9552DD-F022-7B4C-A1C6-D9EE6658BB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4929" y="1892216"/>
            <a:ext cx="788315" cy="7756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AAA20CB7-12D1-4948-A477-C06A76D332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48366" y="1859232"/>
            <a:ext cx="801030" cy="80103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485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4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8D4710F9-2EAC-0D45-BE9D-3F428F92374F}"/>
              </a:ext>
            </a:extLst>
          </p:cNvPr>
          <p:cNvSpPr txBox="1">
            <a:spLocks/>
          </p:cNvSpPr>
          <p:nvPr/>
        </p:nvSpPr>
        <p:spPr>
          <a:xfrm>
            <a:off x="595394" y="1673376"/>
            <a:ext cx="4513862" cy="1179559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None/>
            </a:pPr>
            <a:r>
              <a:rPr lang="es-CL" sz="1800" b="1" kern="0" dirty="0">
                <a:solidFill>
                  <a:schemeClr val="tx1"/>
                </a:solidFill>
                <a:latin typeface="ACHS Nueva Serif" pitchFamily="2" charset="77"/>
              </a:rPr>
              <a:t>Zona de seguridad en el 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None/>
            </a:pPr>
            <a:r>
              <a:rPr lang="es-CL" sz="1800" b="1" kern="0" dirty="0">
                <a:solidFill>
                  <a:schemeClr val="tx1"/>
                </a:solidFill>
                <a:latin typeface="ACHS Nueva Serif" pitchFamily="2" charset="77"/>
              </a:rPr>
              <a:t>madereo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0564FC6A-186F-644C-825B-579D59A7FDDD}"/>
              </a:ext>
            </a:extLst>
          </p:cNvPr>
          <p:cNvGrpSpPr/>
          <p:nvPr/>
        </p:nvGrpSpPr>
        <p:grpSpPr>
          <a:xfrm>
            <a:off x="4741866" y="1673377"/>
            <a:ext cx="7180354" cy="4319370"/>
            <a:chOff x="4121717" y="2002782"/>
            <a:chExt cx="7180354" cy="4319370"/>
          </a:xfrm>
        </p:grpSpPr>
        <p:pic>
          <p:nvPicPr>
            <p:cNvPr id="27" name="Picture 5" descr="C:\Users\Pc\AppData\Local\Temp\x10sctmp9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4241" y="2002782"/>
              <a:ext cx="5993139" cy="4319370"/>
            </a:xfrm>
            <a:prstGeom prst="rect">
              <a:avLst/>
            </a:prstGeom>
            <a:noFill/>
            <a:ln w="1587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CuadroTexto 27"/>
            <p:cNvSpPr txBox="1"/>
            <p:nvPr/>
          </p:nvSpPr>
          <p:spPr>
            <a:xfrm>
              <a:off x="9409162" y="4547382"/>
              <a:ext cx="1892909" cy="843821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1371" dirty="0">
                  <a:latin typeface="ACHS Nueva Sans Medium" pitchFamily="2" charset="77"/>
                  <a:cs typeface="Catamaran Light" panose="00000400000000000000" pitchFamily="2" charset="0"/>
                </a:rPr>
                <a:t>En madero orilla soportes, distancias mínima de seguridad de un largo de árbol.</a:t>
              </a: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4121717" y="2369202"/>
              <a:ext cx="1729789" cy="105477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s-CL" sz="1371" dirty="0">
                  <a:latin typeface="ACHS Nueva Sans Medium" pitchFamily="2" charset="77"/>
                  <a:cs typeface="Catamaran Light" panose="00000400000000000000" pitchFamily="2" charset="0"/>
                </a:rPr>
                <a:t>Una vez amarrado los fustes aléjate a mínimo 15 metros pendiente arriba de la carga.  </a:t>
              </a:r>
            </a:p>
          </p:txBody>
        </p:sp>
      </p:grpSp>
      <p:sp>
        <p:nvSpPr>
          <p:cNvPr id="30" name="Rectángulo 29"/>
          <p:cNvSpPr/>
          <p:nvPr/>
        </p:nvSpPr>
        <p:spPr>
          <a:xfrm>
            <a:off x="3847401" y="1837966"/>
            <a:ext cx="7707429" cy="4690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24" dirty="0"/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BA05C110-3423-664A-BEE0-7C4EDA1715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FFFFE58F-5FE5-1F45-BCF0-CC0F513FFE9C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="" xmlns:a16="http://schemas.microsoft.com/office/drawing/2014/main" id="{B3867212-BF4F-F243-A176-A213C0BF1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496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8 Imagen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44" r="2644"/>
          <a:stretch/>
        </p:blipFill>
        <p:spPr bwMode="auto">
          <a:xfrm>
            <a:off x="4484215" y="1512328"/>
            <a:ext cx="7708578" cy="5345670"/>
          </a:xfrm>
          <a:prstGeom prst="rect">
            <a:avLst/>
          </a:prstGeom>
          <a:solidFill>
            <a:srgbClr val="FFFFFF">
              <a:shade val="85000"/>
              <a:alpha val="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7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B6F42C95-F4C9-3B4C-B318-509873CD3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81EC58E5-D42C-BD47-A513-F87221E4CE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73A978AA-F44B-F347-9A00-E3C2A8957C6F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10485624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Desestrobado: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Espere en zona de seguridad que la máquina se detenga y suelte la carga. 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Posteriormente ingrese                        a desestrobar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Evalúe que no existan ramas tensionadas y soltar estrobos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sz="16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FFB06224-DA7C-D647-94B4-846FE5E47398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0330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8 Imagen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44" r="2644"/>
          <a:stretch/>
        </p:blipFill>
        <p:spPr bwMode="auto">
          <a:xfrm>
            <a:off x="4484215" y="1512328"/>
            <a:ext cx="7708578" cy="5345670"/>
          </a:xfrm>
          <a:prstGeom prst="rect">
            <a:avLst/>
          </a:prstGeom>
          <a:solidFill>
            <a:srgbClr val="FFFFFF">
              <a:shade val="85000"/>
              <a:alpha val="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02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B6F42C95-F4C9-3B4C-B318-509873CD3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81EC58E5-D42C-BD47-A513-F87221E4CE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73A978AA-F44B-F347-9A00-E3C2A8957C6F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10485624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i algún estrobo se encuentra con la abertura del deslizador hacia la corteza, apretado o debajo del trozo, ubíquese en zona de seguridad e indicar al operador que levante carga y luego suelte. 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Recuerde que al realizar esto, debe alejarse a 15 metros de         la carga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i aún no logra liberar los estrobos, solicite apoyo a la máquina de ordenamiento          en canch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FFB06224-DA7C-D647-94B4-846FE5E47398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08995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8D4710F9-2EAC-0D45-BE9D-3F428F92374F}"/>
              </a:ext>
            </a:extLst>
          </p:cNvPr>
          <p:cNvSpPr txBox="1">
            <a:spLocks/>
          </p:cNvSpPr>
          <p:nvPr/>
        </p:nvSpPr>
        <p:spPr>
          <a:xfrm>
            <a:off x="646828" y="1673377"/>
            <a:ext cx="4513862" cy="5486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1829" b="1" kern="0" dirty="0">
                <a:solidFill>
                  <a:schemeClr val="tx1"/>
                </a:solidFill>
                <a:latin typeface="ACHS Nueva Serif" pitchFamily="2" charset="77"/>
              </a:rPr>
              <a:t>Desestrobado: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4679112" y="1556792"/>
            <a:ext cx="7132221" cy="4287540"/>
            <a:chOff x="1187624" y="737869"/>
            <a:chExt cx="7093913" cy="5627395"/>
          </a:xfrm>
        </p:grpSpPr>
        <p:pic>
          <p:nvPicPr>
            <p:cNvPr id="13" name="Picture 4" descr="C:\Users\Pc\AppData\Local\Temp\x10sctmp10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7624" y="908720"/>
              <a:ext cx="6624371" cy="5345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CuadroTexto 13"/>
            <p:cNvSpPr txBox="1"/>
            <p:nvPr/>
          </p:nvSpPr>
          <p:spPr>
            <a:xfrm>
              <a:off x="1403648" y="1222013"/>
              <a:ext cx="1512168" cy="2768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lang="es-CL" sz="1371" dirty="0">
                <a:cs typeface="Arial" pitchFamily="34" charset="0"/>
              </a:endParaRP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3563888" y="1437457"/>
              <a:ext cx="1800200" cy="2768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lang="es-CL" sz="1371" dirty="0">
                <a:cs typeface="Arial" pitchFamily="34" charset="0"/>
              </a:endParaRPr>
            </a:p>
          </p:txBody>
        </p:sp>
        <p:sp>
          <p:nvSpPr>
            <p:cNvPr id="19" name="CuadroTexto 18"/>
            <p:cNvSpPr txBox="1"/>
            <p:nvPr/>
          </p:nvSpPr>
          <p:spPr>
            <a:xfrm>
              <a:off x="6084168" y="1437457"/>
              <a:ext cx="1656184" cy="2768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lang="es-CL" sz="1371" dirty="0">
                <a:cs typeface="Arial" pitchFamily="34" charset="0"/>
              </a:endParaRPr>
            </a:p>
          </p:txBody>
        </p:sp>
        <p:sp>
          <p:nvSpPr>
            <p:cNvPr id="20" name="CuadroTexto 19"/>
            <p:cNvSpPr txBox="1"/>
            <p:nvPr/>
          </p:nvSpPr>
          <p:spPr>
            <a:xfrm>
              <a:off x="1259632" y="5805264"/>
              <a:ext cx="2448272" cy="2768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lang="es-CL" sz="1371" dirty="0">
                <a:cs typeface="Arial" pitchFamily="34" charset="0"/>
              </a:endParaRPr>
            </a:p>
          </p:txBody>
        </p:sp>
        <p:sp>
          <p:nvSpPr>
            <p:cNvPr id="22" name="CuadroTexto 21"/>
            <p:cNvSpPr txBox="1"/>
            <p:nvPr/>
          </p:nvSpPr>
          <p:spPr>
            <a:xfrm>
              <a:off x="3995936" y="5805264"/>
              <a:ext cx="2592288" cy="2768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lang="es-CL" sz="1371" dirty="0">
                <a:cs typeface="Arial" pitchFamily="34" charset="0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4952855" y="4742359"/>
              <a:ext cx="2673563" cy="830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CL" sz="1371" b="1" spc="229" dirty="0">
                  <a:latin typeface="ACHS Nueva Sans SemiBold" pitchFamily="2" charset="77"/>
                  <a:cs typeface="Catamaran Light" panose="00000400000000000000" pitchFamily="2" charset="0"/>
                </a:rPr>
                <a:t>Zona de seguridad debe estar distante de maquinas.</a:t>
              </a:r>
            </a:p>
          </p:txBody>
        </p:sp>
        <p:sp>
          <p:nvSpPr>
            <p:cNvPr id="24" name="CuadroTexto 23"/>
            <p:cNvSpPr txBox="1"/>
            <p:nvPr/>
          </p:nvSpPr>
          <p:spPr>
            <a:xfrm>
              <a:off x="1678741" y="5534627"/>
              <a:ext cx="1773281" cy="8306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s-CL" sz="1371" b="1" spc="229" dirty="0">
                  <a:latin typeface="ACHS Nueva Sans SemiBold" pitchFamily="2" charset="77"/>
                  <a:cs typeface="Catamaran Light" panose="00000400000000000000" pitchFamily="2" charset="0"/>
                </a:rPr>
                <a:t>Zona de seguridad estrobero</a:t>
              </a:r>
            </a:p>
          </p:txBody>
        </p:sp>
        <p:sp>
          <p:nvSpPr>
            <p:cNvPr id="25" name="CuadroTexto 24"/>
            <p:cNvSpPr txBox="1"/>
            <p:nvPr/>
          </p:nvSpPr>
          <p:spPr>
            <a:xfrm>
              <a:off x="1187624" y="887026"/>
              <a:ext cx="1636875" cy="83063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s-CL" sz="1371" b="1" spc="229" dirty="0">
                  <a:latin typeface="ACHS Nueva Sans SemiBold" pitchFamily="2" charset="77"/>
                  <a:cs typeface="Catamaran Light" panose="00000400000000000000" pitchFamily="2" charset="0"/>
                </a:rPr>
                <a:t>Línea de madereo de torre.</a:t>
              </a: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3235533" y="737869"/>
              <a:ext cx="1909688" cy="8306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s-CL" sz="1371" b="1" spc="229" dirty="0">
                  <a:latin typeface="ACHS Nueva Sans SemiBold" pitchFamily="2" charset="77"/>
                  <a:cs typeface="Catamaran Light" panose="00000400000000000000" pitchFamily="2" charset="0"/>
                </a:rPr>
                <a:t>Zona de acumulación de fustes.</a:t>
              </a:r>
            </a:p>
          </p:txBody>
        </p:sp>
        <p:sp>
          <p:nvSpPr>
            <p:cNvPr id="27" name="CuadroTexto 26"/>
            <p:cNvSpPr txBox="1"/>
            <p:nvPr/>
          </p:nvSpPr>
          <p:spPr>
            <a:xfrm>
              <a:off x="6262725" y="832379"/>
              <a:ext cx="2018812" cy="8306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s-CL" sz="1371" b="1" spc="229" dirty="0">
                  <a:latin typeface="ACHS Nueva Sans SemiBold" pitchFamily="2" charset="77"/>
                  <a:cs typeface="Catamaran Light" panose="00000400000000000000" pitchFamily="2" charset="0"/>
                </a:rPr>
                <a:t>Zona de ordenamiento de trozos.</a:t>
              </a:r>
            </a:p>
          </p:txBody>
        </p:sp>
      </p:grpSp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490FF797-CF17-994F-B26C-078F6F239E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8" name="Conector recto 6">
            <a:extLst>
              <a:ext uri="{FF2B5EF4-FFF2-40B4-BE49-F238E27FC236}">
                <a16:creationId xmlns="" xmlns:a16="http://schemas.microsoft.com/office/drawing/2014/main" id="{BCE7C940-AFA9-884C-9E6B-68AC4468D1B2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="" xmlns:a16="http://schemas.microsoft.com/office/drawing/2014/main" id="{1AEB2931-3BBB-8A4A-9472-09587D254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estrobado y desestrobad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0916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86"/>
          <a:stretch/>
        </p:blipFill>
        <p:spPr>
          <a:xfrm>
            <a:off x="4508896" y="1512330"/>
            <a:ext cx="7708578" cy="5345670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1044630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6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6B021113-EC3F-1D42-AC54-452B24DECC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D78E5773-7AC1-544D-A421-C65EB3C0B7C6}"/>
              </a:ext>
            </a:extLst>
          </p:cNvPr>
          <p:cNvSpPr txBox="1">
            <a:spLocks/>
          </p:cNvSpPr>
          <p:nvPr/>
        </p:nvSpPr>
        <p:spPr>
          <a:xfrm>
            <a:off x="582494" y="1512330"/>
            <a:ext cx="3433449" cy="508501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r>
              <a:rPr lang="es-CL" sz="1600" dirty="0">
                <a:solidFill>
                  <a:srgbClr val="0C662F"/>
                </a:solidFill>
                <a:latin typeface="ACHS Nueva Serif" pitchFamily="2" charset="77"/>
                <a:cs typeface="Catamaran Light" panose="00000400000000000000" pitchFamily="2" charset="0"/>
              </a:rPr>
              <a:t>Siempre tenga presente las siguientes recomendaciones para hacer un trabajo seguro eficiente:</a:t>
            </a: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endParaRPr lang="es-CL" sz="1600" dirty="0">
              <a:solidFill>
                <a:srgbClr val="0C662F"/>
              </a:solidFill>
              <a:latin typeface="ACHS Nueva Serif" pitchFamily="2" charset="77"/>
              <a:cs typeface="Catamaran Light" panose="00000400000000000000" pitchFamily="2" charset="0"/>
            </a:endParaRP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Utilizar todos sus EPP,</a:t>
            </a: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 los cuales deben estar en buen estado. 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Respetar la distancia de seguridad con equipos de madereo y frentes de volteo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Realizar el estrobado de árboles desde su base, a una distancia que evite los atascos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Utilizar siempre cables y estrobos en buen estado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Realizar el estrobado siempre en coordinación radial con operador del Torre.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0D32C635-D39C-4C4C-9481-0B4D04F81A6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B4B66A8-CB0B-A94F-87B2-40321DEB167A}"/>
              </a:ext>
            </a:extLst>
          </p:cNvPr>
          <p:cNvSpPr txBox="1">
            <a:spLocks/>
          </p:cNvSpPr>
          <p:nvPr/>
        </p:nvSpPr>
        <p:spPr>
          <a:xfrm>
            <a:off x="582494" y="623527"/>
            <a:ext cx="4391330" cy="46460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onclusion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8116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86"/>
          <a:stretch/>
        </p:blipFill>
        <p:spPr>
          <a:xfrm>
            <a:off x="4508896" y="1512330"/>
            <a:ext cx="7708578" cy="5345670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69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6B021113-EC3F-1D42-AC54-452B24DECC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D78E5773-7AC1-544D-A421-C65EB3C0B7C6}"/>
              </a:ext>
            </a:extLst>
          </p:cNvPr>
          <p:cNvSpPr txBox="1">
            <a:spLocks/>
          </p:cNvSpPr>
          <p:nvPr/>
        </p:nvSpPr>
        <p:spPr>
          <a:xfrm>
            <a:off x="582494" y="1512330"/>
            <a:ext cx="3433449" cy="508501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Amarrar cantidad de árboles de acuerdo a la capacidad de arrastre de la Torre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Estrobar árboles que se encuentren sobre otros, nunca los que estén aplastado                            o aprisionados. 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Tener definida y señalizada zona de seguridad en cancha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Desestrobar siempre desde el suelo, nunca se suba sobre los fustes que va a desestrobar.</a:t>
            </a:r>
          </a:p>
          <a:p>
            <a:pPr marL="135466" indent="-135466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Cuando máquinas estén operando en cancha, no realice estrobado ni circule             pendiente abajo.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0D32C635-D39C-4C4C-9481-0B4D04F81A6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B4B66A8-CB0B-A94F-87B2-40321DEB167A}"/>
              </a:ext>
            </a:extLst>
          </p:cNvPr>
          <p:cNvSpPr txBox="1">
            <a:spLocks/>
          </p:cNvSpPr>
          <p:nvPr/>
        </p:nvSpPr>
        <p:spPr>
          <a:xfrm>
            <a:off x="582494" y="623527"/>
            <a:ext cx="4391330" cy="46460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onclusion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6608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794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3749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9246" y="292397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913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48797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794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4056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2478" y="2967164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4475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9970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3906364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F3C513C7-E4A1-3C4D-9108-890675A3B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17959"/>
            <a:ext cx="5528244" cy="464608"/>
          </a:xfrm>
        </p:spPr>
        <p:txBody>
          <a:bodyPr vert="horz">
            <a:no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Introducción: Definiciones</a:t>
            </a:r>
          </a:p>
        </p:txBody>
      </p:sp>
      <p:sp>
        <p:nvSpPr>
          <p:cNvPr id="16" name="Marcador de texto 31">
            <a:extLst>
              <a:ext uri="{FF2B5EF4-FFF2-40B4-BE49-F238E27FC236}">
                <a16:creationId xmlns="" xmlns:a16="http://schemas.microsoft.com/office/drawing/2014/main" id="{46B0F002-2798-D544-957E-DDE8D7A27617}"/>
              </a:ext>
            </a:extLst>
          </p:cNvPr>
          <p:cNvSpPr txBox="1">
            <a:spLocks/>
          </p:cNvSpPr>
          <p:nvPr/>
        </p:nvSpPr>
        <p:spPr>
          <a:xfrm>
            <a:off x="568550" y="1386571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Torre de maderero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Máquina diseñada para el acarreo aéreo de fustes desde zonas de volteo hasta canchas o áreas de acopio. Y fueron ideadas para trabajar en altas pendientes, donde no es factible que pueda ingresar una máquina. 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El personal especializado, amarra árboles con un estrobo, el cual es enganchado en cable de arrastre de máquina. 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La capacidad de arrastre depende de la potencia de la máquina, el tipo de cable utilizado y características del carro 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de madereo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76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230346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7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Users\Pc\AppData\Local\Temp\x10sctmp0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248" b="1703"/>
          <a:stretch/>
        </p:blipFill>
        <p:spPr bwMode="auto">
          <a:xfrm>
            <a:off x="4484213" y="1472701"/>
            <a:ext cx="7709375" cy="5385300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n 5">
            <a:extLst>
              <a:ext uri="{FF2B5EF4-FFF2-40B4-BE49-F238E27FC236}">
                <a16:creationId xmlns="" xmlns:a16="http://schemas.microsoft.com/office/drawing/2014/main" id="{A807FF14-8640-8E40-A58F-D8D8E8D361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36506F3F-FCC4-0C47-97F7-81F733B2C54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7339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63783804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3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3" r="1445" b="886"/>
          <a:stretch/>
        </p:blipFill>
        <p:spPr>
          <a:xfrm>
            <a:off x="4484214" y="1512329"/>
            <a:ext cx="7709374" cy="5345671"/>
          </a:xfrm>
          <a:prstGeom prst="rect">
            <a:avLst/>
          </a:prstGeom>
        </p:spPr>
      </p:pic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6C4BC6C1-A151-A346-8806-13E567217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17959"/>
            <a:ext cx="5528244" cy="464608"/>
          </a:xfrm>
        </p:spPr>
        <p:txBody>
          <a:bodyPr vert="horz">
            <a:no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Introducción: Definiciones</a:t>
            </a:r>
          </a:p>
        </p:txBody>
      </p:sp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9F0457F1-21BA-7646-9654-F853B05011E9}"/>
              </a:ext>
            </a:extLst>
          </p:cNvPr>
          <p:cNvSpPr txBox="1">
            <a:spLocks/>
          </p:cNvSpPr>
          <p:nvPr/>
        </p:nvSpPr>
        <p:spPr>
          <a:xfrm>
            <a:off x="569769" y="1512329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ero: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Persona encargada de seleccionar los fustes y amarrarlos con un estrobo. Posteriormente los engancha a un  cable a través de una “T”, para finalmente ser madereados por Torre en dirección a canchas            de acopio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El Estrobero también puede realizar la función de Desestrobado, la cual consiste en soltar los estrobos en cancha para liberar la carga.</a:t>
            </a: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6643D027-BDBA-9643-A4CA-2390D51434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8C5C0AE6-4C31-1D49-A85D-01591F789F32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175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30">
            <a:extLst>
              <a:ext uri="{FF2B5EF4-FFF2-40B4-BE49-F238E27FC236}">
                <a16:creationId xmlns="" xmlns:a16="http://schemas.microsoft.com/office/drawing/2014/main" id="{FF949BBF-04C4-4645-9800-62C4D4DB8B2D}"/>
              </a:ext>
            </a:extLst>
          </p:cNvPr>
          <p:cNvSpPr txBox="1">
            <a:spLocks/>
          </p:cNvSpPr>
          <p:nvPr/>
        </p:nvSpPr>
        <p:spPr>
          <a:xfrm>
            <a:off x="568550" y="659492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ipos de cables y estrobos:</a:t>
            </a:r>
            <a:b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ables de acero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7039160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6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46AAF44B-BB92-EB47-B5B9-CA946E0D5B3C}"/>
              </a:ext>
            </a:extLst>
          </p:cNvPr>
          <p:cNvGrpSpPr/>
          <p:nvPr/>
        </p:nvGrpSpPr>
        <p:grpSpPr>
          <a:xfrm>
            <a:off x="4872659" y="1512328"/>
            <a:ext cx="5904656" cy="4885855"/>
            <a:chOff x="6045816" y="1323575"/>
            <a:chExt cx="6153663" cy="5091897"/>
          </a:xfrm>
        </p:grpSpPr>
        <p:pic>
          <p:nvPicPr>
            <p:cNvPr id="13" name="Picture 2" descr="C:\Users\Pc\AppData\Local\Temp\x10sctmp24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5816" y="1323575"/>
              <a:ext cx="3471852" cy="5091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C:\Users\Pc\AppData\Local\Temp\x10sctmp28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8312626" y="2528618"/>
              <a:ext cx="5091896" cy="2681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Marcador de texto 31">
            <a:extLst>
              <a:ext uri="{FF2B5EF4-FFF2-40B4-BE49-F238E27FC236}">
                <a16:creationId xmlns="" xmlns:a16="http://schemas.microsoft.com/office/drawing/2014/main" id="{93A019C0-AE02-E34A-B2CE-05C414AB106B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688522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La Torre de Madereo utiliza cables de los siguientes diámetros:</a:t>
            </a:r>
          </a:p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b="1" kern="0" dirty="0">
                <a:solidFill>
                  <a:schemeClr val="tx1"/>
                </a:solidFill>
                <a:latin typeface="ACHS Nueva Sans SemiBold" pitchFamily="2" charset="77"/>
              </a:rPr>
              <a:t>Aéreo: </a:t>
            </a: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      7/8, 13/16 ó 3/4. 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b="1" kern="0" dirty="0">
                <a:solidFill>
                  <a:schemeClr val="tx1"/>
                </a:solidFill>
                <a:latin typeface="ACHS Nueva Sans SemiBold" pitchFamily="2" charset="77"/>
              </a:rPr>
              <a:t>Tracción:    </a:t>
            </a: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½ ó 9/16 </a:t>
            </a:r>
          </a:p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r>
              <a:rPr lang="es-ES" sz="1200" b="1" kern="0" dirty="0">
                <a:solidFill>
                  <a:srgbClr val="15C047"/>
                </a:solidFill>
                <a:latin typeface="ACHS Nueva Sans SemiBold" pitchFamily="2" charset="77"/>
              </a:rPr>
              <a:t>El cable debe cumplir las siguientes características:</a:t>
            </a:r>
          </a:p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Mayor carga de rotura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Elevada superficie de contacto               (cable martillado)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Flexible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Alta resistencia a la abrasión y poca tendencia formar  “espinas”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Gran resistencia al aplastamiento y deformaciones causadas por ángulos de desviación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Cable debe permitir un fácil corte                      y manejo.</a:t>
            </a: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"/>
              </a:spcBef>
              <a:buClr>
                <a:srgbClr val="15C047"/>
              </a:buClr>
              <a:buNone/>
            </a:pPr>
            <a:r>
              <a:rPr lang="es-ES" sz="1200" kern="0" dirty="0">
                <a:solidFill>
                  <a:schemeClr val="tx1"/>
                </a:solidFill>
                <a:latin typeface="ACHS Nueva Sans Medium" pitchFamily="2" charset="77"/>
              </a:rPr>
              <a:t>Los más utilizados son aquellos conocidos como 6x26 (6 torones con 26 alambres) y 6x19 (6 torones con 19 alambres).</a:t>
            </a: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alt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alt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alt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3023828-0DAF-434F-A8CC-0A18A846338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82292969-3E2B-3443-9D90-4A751B8F5D31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61303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3558146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8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Grupo 25"/>
          <p:cNvGrpSpPr/>
          <p:nvPr/>
        </p:nvGrpSpPr>
        <p:grpSpPr>
          <a:xfrm>
            <a:off x="2822102" y="2331735"/>
            <a:ext cx="8991509" cy="3730700"/>
            <a:chOff x="13661" y="2427271"/>
            <a:chExt cx="8009894" cy="3613331"/>
          </a:xfrm>
        </p:grpSpPr>
        <p:pic>
          <p:nvPicPr>
            <p:cNvPr id="28" name="Picture 4" descr="C:\Users\Pc\AppData\Local\Temp\x10sctmp2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562" y="2427271"/>
              <a:ext cx="4243993" cy="3613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 Box 2"/>
            <p:cNvSpPr txBox="1">
              <a:spLocks noChangeArrowheads="1"/>
            </p:cNvSpPr>
            <p:nvPr/>
          </p:nvSpPr>
          <p:spPr bwMode="auto">
            <a:xfrm>
              <a:off x="13661" y="3195139"/>
              <a:ext cx="2664296" cy="11468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rot="0" vert="horz" wrap="square" lIns="69669" tIns="34834" rIns="69669" bIns="34834" anchor="ctr" anchorCtr="0" upright="1">
              <a:noAutofit/>
            </a:bodyPr>
            <a:lstStyle>
              <a:defPPr>
                <a:defRPr lang="es-CL"/>
              </a:defPPr>
              <a:lvl1pPr marL="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9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4018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6027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88036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45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54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4063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720" algn="l" defTabSz="1440180" rtl="0" eaLnBrk="1" latinLnBrk="0" hangingPunct="1"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97273">
                <a:defRPr/>
              </a:pPr>
              <a:r>
                <a:rPr lang="es-ES" sz="1524" b="1" dirty="0">
                  <a:solidFill>
                    <a:srgbClr val="15C047"/>
                  </a:solidFill>
                  <a:latin typeface="ACHS Nueva Sans SemiBold" pitchFamily="2" charset="77"/>
                  <a:ea typeface="Times New Roman"/>
                  <a:cs typeface="Times New Roman"/>
                </a:rPr>
                <a:t>Argolla</a:t>
              </a:r>
            </a:p>
            <a:p>
              <a:pPr algn="r" defTabSz="1097273">
                <a:defRPr/>
              </a:pP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  <a:p>
              <a:pPr algn="r" defTabSz="1097273">
                <a:defRPr/>
              </a:pP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  <a:p>
              <a:pPr algn="r" defTabSz="1097273">
                <a:defRPr/>
              </a:pPr>
              <a:r>
                <a:rPr lang="es-ES" sz="1524" b="1" dirty="0">
                  <a:solidFill>
                    <a:srgbClr val="15C047"/>
                  </a:solidFill>
                  <a:latin typeface="ACHS Nueva Sans SemiBold" pitchFamily="2" charset="77"/>
                  <a:ea typeface="Times New Roman"/>
                  <a:cs typeface="Times New Roman"/>
                </a:rPr>
                <a:t>Deslizador (campana)</a:t>
              </a:r>
            </a:p>
            <a:p>
              <a:pPr algn="r" defTabSz="1097273">
                <a:defRPr/>
              </a:pP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  <a:p>
              <a:pPr algn="r" defTabSz="1097273">
                <a:defRPr/>
              </a:pP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  <a:p>
              <a:pPr algn="r" defTabSz="1097273">
                <a:defRPr/>
              </a:pPr>
              <a:r>
                <a:rPr lang="es-ES" sz="1524" b="1" dirty="0">
                  <a:solidFill>
                    <a:srgbClr val="15C047"/>
                  </a:solidFill>
                  <a:latin typeface="ACHS Nueva Sans SemiBold" pitchFamily="2" charset="77"/>
                  <a:ea typeface="Times New Roman"/>
                  <a:cs typeface="Times New Roman"/>
                </a:rPr>
                <a:t>Cable 9/16¨ </a:t>
              </a: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</p:txBody>
        </p:sp>
        <p:sp>
          <p:nvSpPr>
            <p:cNvPr id="34" name="24 Rectángulo"/>
            <p:cNvSpPr/>
            <p:nvPr/>
          </p:nvSpPr>
          <p:spPr>
            <a:xfrm>
              <a:off x="6382423" y="5445224"/>
              <a:ext cx="1501944" cy="400110"/>
            </a:xfrm>
            <a:prstGeom prst="rect">
              <a:avLst/>
            </a:prstGeom>
            <a:noFill/>
            <a:ln>
              <a:noFill/>
            </a:ln>
          </p:spPr>
          <p:txBody>
            <a:bodyPr rot="0" vert="horz" wrap="square" lIns="69669" tIns="34834" rIns="69669" bIns="34834" anchor="ctr" anchorCtr="0" upright="1">
              <a:noAutofit/>
            </a:bodyPr>
            <a:lstStyle/>
            <a:p>
              <a:pPr algn="r"/>
              <a:r>
                <a:rPr lang="es-ES" sz="1524" b="1" dirty="0">
                  <a:solidFill>
                    <a:srgbClr val="15C047"/>
                  </a:solidFill>
                  <a:latin typeface="ACHS Nueva Sans SemiBold" pitchFamily="2" charset="77"/>
                  <a:ea typeface="Times New Roman"/>
                  <a:cs typeface="Times New Roman"/>
                </a:rPr>
                <a:t>Deslizador </a:t>
              </a:r>
            </a:p>
            <a:p>
              <a:pPr algn="r"/>
              <a:r>
                <a:rPr lang="es-ES" sz="1524" b="1" dirty="0">
                  <a:solidFill>
                    <a:srgbClr val="15C047"/>
                  </a:solidFill>
                  <a:latin typeface="ACHS Nueva Sans SemiBold" pitchFamily="2" charset="77"/>
                  <a:ea typeface="Times New Roman"/>
                  <a:cs typeface="Times New Roman"/>
                </a:rPr>
                <a:t>(campana)</a:t>
              </a:r>
              <a:endParaRPr lang="es-CL" sz="1524" b="1" dirty="0">
                <a:solidFill>
                  <a:srgbClr val="15C047"/>
                </a:solidFill>
                <a:latin typeface="ACHS Nueva Sans SemiBold" pitchFamily="2" charset="77"/>
                <a:ea typeface="Times New Roman"/>
                <a:cs typeface="Times New Roman"/>
              </a:endParaRPr>
            </a:p>
          </p:txBody>
        </p:sp>
      </p:grpSp>
      <p:cxnSp>
        <p:nvCxnSpPr>
          <p:cNvPr id="5" name="Conector recto de flecha 4"/>
          <p:cNvCxnSpPr/>
          <p:nvPr/>
        </p:nvCxnSpPr>
        <p:spPr>
          <a:xfrm flipH="1">
            <a:off x="5918252" y="2722447"/>
            <a:ext cx="3681217" cy="24872"/>
          </a:xfrm>
          <a:prstGeom prst="straightConnector1">
            <a:avLst/>
          </a:prstGeom>
          <a:noFill/>
          <a:ln w="25400" cap="flat">
            <a:solidFill>
              <a:srgbClr val="15C04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Conector recto de flecha 35"/>
          <p:cNvCxnSpPr/>
          <p:nvPr/>
        </p:nvCxnSpPr>
        <p:spPr>
          <a:xfrm flipH="1">
            <a:off x="5918252" y="3673005"/>
            <a:ext cx="3027877" cy="23111"/>
          </a:xfrm>
          <a:prstGeom prst="straightConnector1">
            <a:avLst/>
          </a:prstGeom>
          <a:noFill/>
          <a:ln w="25400" cap="flat">
            <a:solidFill>
              <a:srgbClr val="15C04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7" name="Conector recto de flecha 36"/>
          <p:cNvCxnSpPr/>
          <p:nvPr/>
        </p:nvCxnSpPr>
        <p:spPr>
          <a:xfrm flipH="1" flipV="1">
            <a:off x="5918252" y="4621801"/>
            <a:ext cx="2701208" cy="14312"/>
          </a:xfrm>
          <a:prstGeom prst="straightConnector1">
            <a:avLst/>
          </a:prstGeom>
          <a:noFill/>
          <a:ln w="25400" cap="flat">
            <a:solidFill>
              <a:srgbClr val="15C04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8" name="Conector recto de flecha 37"/>
          <p:cNvCxnSpPr/>
          <p:nvPr/>
        </p:nvCxnSpPr>
        <p:spPr>
          <a:xfrm>
            <a:off x="9301957" y="3936871"/>
            <a:ext cx="966913" cy="0"/>
          </a:xfrm>
          <a:prstGeom prst="straightConnector1">
            <a:avLst/>
          </a:prstGeom>
          <a:noFill/>
          <a:ln w="25400" cap="flat">
            <a:solidFill>
              <a:srgbClr val="15C04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Título 30">
            <a:extLst>
              <a:ext uri="{FF2B5EF4-FFF2-40B4-BE49-F238E27FC236}">
                <a16:creationId xmlns="" xmlns:a16="http://schemas.microsoft.com/office/drawing/2014/main" id="{BCC3ABC3-0BDF-F342-BDA8-2F93D0767BEC}"/>
              </a:ext>
            </a:extLst>
          </p:cNvPr>
          <p:cNvSpPr txBox="1">
            <a:spLocks/>
          </p:cNvSpPr>
          <p:nvPr/>
        </p:nvSpPr>
        <p:spPr>
          <a:xfrm>
            <a:off x="568550" y="659492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ipos de cables y estrobos:</a:t>
            </a:r>
            <a:b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Estrobos</a:t>
            </a:r>
          </a:p>
        </p:txBody>
      </p:sp>
      <p:sp>
        <p:nvSpPr>
          <p:cNvPr id="39" name="Marcador de texto 31">
            <a:extLst>
              <a:ext uri="{FF2B5EF4-FFF2-40B4-BE49-F238E27FC236}">
                <a16:creationId xmlns="" xmlns:a16="http://schemas.microsoft.com/office/drawing/2014/main" id="{07F988C4-1788-DD40-B0D4-DAEB84B191FC}"/>
              </a:ext>
            </a:extLst>
          </p:cNvPr>
          <p:cNvSpPr txBox="1">
            <a:spLocks/>
          </p:cNvSpPr>
          <p:nvPr/>
        </p:nvSpPr>
        <p:spPr>
          <a:xfrm>
            <a:off x="568550" y="2331735"/>
            <a:ext cx="3433449" cy="105257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r>
              <a:rPr lang="es-ES" sz="1600" b="1" kern="0" dirty="0">
                <a:solidFill>
                  <a:schemeClr val="tx1"/>
                </a:solidFill>
                <a:latin typeface="ACHS Nueva Sans SemiBold" pitchFamily="2" charset="77"/>
              </a:rPr>
              <a:t>Cables de acero de 2 metros de largo y diámetro de 9/16´´, con deslizador, tope y argolla:</a:t>
            </a: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sz="1600" b="1" kern="0" dirty="0">
              <a:solidFill>
                <a:schemeClr val="tx1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altLang="es-CL" sz="1600" b="1" kern="0" dirty="0">
              <a:solidFill>
                <a:schemeClr val="tx1"/>
              </a:solidFill>
              <a:latin typeface="ACHS Nueva Sans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ES" altLang="es-CL" sz="1600" b="1" kern="0" dirty="0">
              <a:solidFill>
                <a:schemeClr val="tx1"/>
              </a:solidFill>
              <a:latin typeface="ACHS Nueva Sans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altLang="es-CL" sz="1600" b="1" kern="0" dirty="0">
              <a:solidFill>
                <a:schemeClr val="tx1"/>
              </a:solidFill>
              <a:latin typeface="ACHS Nueva Sans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sz="1600" b="1" kern="0" dirty="0">
              <a:solidFill>
                <a:schemeClr val="tx1"/>
              </a:solidFill>
              <a:latin typeface="ACHS Nueva Sans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SzPct val="100000"/>
              <a:buNone/>
            </a:pPr>
            <a:endParaRPr lang="es-CL" sz="1600" b="1" kern="0" dirty="0">
              <a:solidFill>
                <a:schemeClr val="tx1"/>
              </a:solidFill>
              <a:latin typeface="ACHS Nueva Sans SemiBold" pitchFamily="2" charset="77"/>
            </a:endParaRPr>
          </a:p>
        </p:txBody>
      </p:sp>
      <p:pic>
        <p:nvPicPr>
          <p:cNvPr id="40" name="Imagen 5">
            <a:extLst>
              <a:ext uri="{FF2B5EF4-FFF2-40B4-BE49-F238E27FC236}">
                <a16:creationId xmlns="" xmlns:a16="http://schemas.microsoft.com/office/drawing/2014/main" id="{ED335F05-0854-A74F-AAF4-BF91A79F09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41" name="Conector recto 6">
            <a:extLst>
              <a:ext uri="{FF2B5EF4-FFF2-40B4-BE49-F238E27FC236}">
                <a16:creationId xmlns="" xmlns:a16="http://schemas.microsoft.com/office/drawing/2014/main" id="{ED5E2463-D705-1942-B0B4-9A6ED90E1A1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07020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7CE6F24A-8BA7-AE42-98AE-520C5C8D94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0911158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08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17 Imagen" descr="C:\ACHS\FOTOS PROYECTO\ACOPLE RAPIDO\la foto 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8519" y="3999073"/>
            <a:ext cx="6094273" cy="2858927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23" name="18 Imagen" descr="C:\ACHS\FOTOS PROYECTO\ACOPLE RAPIDO\la foto 2.JPG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45"/>
          <a:stretch/>
        </p:blipFill>
        <p:spPr bwMode="auto">
          <a:xfrm>
            <a:off x="4484214" y="1512329"/>
            <a:ext cx="7708578" cy="5365191"/>
          </a:xfrm>
          <a:prstGeom prst="rect">
            <a:avLst/>
          </a:prstGeom>
          <a:noFill/>
          <a:ln w="12700">
            <a:noFill/>
          </a:ln>
        </p:spPr>
      </p:pic>
      <p:sp>
        <p:nvSpPr>
          <p:cNvPr id="14" name="Marcador de texto 31">
            <a:extLst>
              <a:ext uri="{FF2B5EF4-FFF2-40B4-BE49-F238E27FC236}">
                <a16:creationId xmlns="" xmlns:a16="http://schemas.microsoft.com/office/drawing/2014/main" id="{831DD6F6-FA25-DC42-B62A-E40745D24567}"/>
              </a:ext>
            </a:extLst>
          </p:cNvPr>
          <p:cNvSpPr txBox="1">
            <a:spLocks/>
          </p:cNvSpPr>
          <p:nvPr/>
        </p:nvSpPr>
        <p:spPr>
          <a:xfrm>
            <a:off x="568550" y="1512329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Consiste en</a:t>
            </a: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 un par de eslabones que presentan una pequeña abertura, lo que permite acoplar y desacoplar. De esta manera, se puede conectar rápidamente un nuevo eslabón inferior con su correspondiente “T” y juego de estrobos.</a:t>
            </a: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 Se utiliza para madereos en bosques de            menor diámetro.</a:t>
            </a: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Se toman ambos acoples, colocando uno de ellos frente al otro en forma perpendicular. Luego se conecta y se gira, quedando unidos y formando algo similar a los eslabones de una cadena. </a:t>
            </a: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9942BFC7-CEC5-B345-957D-4DAFCD4086D2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="" xmlns:a16="http://schemas.microsoft.com/office/drawing/2014/main" id="{2B1A5156-9657-B64B-9C0A-CCCBF13504F2}"/>
              </a:ext>
            </a:extLst>
          </p:cNvPr>
          <p:cNvSpPr txBox="1">
            <a:spLocks/>
          </p:cNvSpPr>
          <p:nvPr/>
        </p:nvSpPr>
        <p:spPr>
          <a:xfrm>
            <a:off x="568550" y="659492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ipos de cables y estrobos:</a:t>
            </a:r>
            <a:b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Acople y desacople rápid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263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roup 96">
            <a:extLst>
              <a:ext uri="{FF2B5EF4-FFF2-40B4-BE49-F238E27FC236}">
                <a16:creationId xmlns="" xmlns:a16="http://schemas.microsoft.com/office/drawing/2014/main" id="{BC9ABD5E-4B05-764D-A421-4E10FBC7C7A8}"/>
              </a:ext>
            </a:extLst>
          </p:cNvPr>
          <p:cNvGrpSpPr/>
          <p:nvPr/>
        </p:nvGrpSpPr>
        <p:grpSpPr>
          <a:xfrm>
            <a:off x="405415" y="3822985"/>
            <a:ext cx="3575885" cy="755195"/>
            <a:chOff x="4339177" y="3819567"/>
            <a:chExt cx="3575885" cy="755195"/>
          </a:xfrm>
        </p:grpSpPr>
        <p:grpSp>
          <p:nvGrpSpPr>
            <p:cNvPr id="98" name="Group 97">
              <a:extLst>
                <a:ext uri="{FF2B5EF4-FFF2-40B4-BE49-F238E27FC236}">
                  <a16:creationId xmlns="" xmlns:a16="http://schemas.microsoft.com/office/drawing/2014/main" id="{B90226EE-3FB6-C540-939B-6BAB9E9A3A2A}"/>
                </a:ext>
              </a:extLst>
            </p:cNvPr>
            <p:cNvGrpSpPr/>
            <p:nvPr/>
          </p:nvGrpSpPr>
          <p:grpSpPr>
            <a:xfrm>
              <a:off x="4339177" y="3819567"/>
              <a:ext cx="3572298" cy="755195"/>
              <a:chOff x="3182926" y="5568619"/>
              <a:chExt cx="3572298" cy="755195"/>
            </a:xfrm>
          </p:grpSpPr>
          <p:sp>
            <p:nvSpPr>
              <p:cNvPr id="101" name="Google Shape;1428;p39">
                <a:extLst>
                  <a:ext uri="{FF2B5EF4-FFF2-40B4-BE49-F238E27FC236}">
                    <a16:creationId xmlns="" xmlns:a16="http://schemas.microsoft.com/office/drawing/2014/main" id="{AD959521-6DD2-084C-9440-28CF7203393D}"/>
                  </a:ext>
                </a:extLst>
              </p:cNvPr>
              <p:cNvSpPr/>
              <p:nvPr/>
            </p:nvSpPr>
            <p:spPr>
              <a:xfrm>
                <a:off x="3560523" y="5572333"/>
                <a:ext cx="319470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102" name="Google Shape;1431;p39">
                <a:extLst>
                  <a:ext uri="{FF2B5EF4-FFF2-40B4-BE49-F238E27FC236}">
                    <a16:creationId xmlns="" xmlns:a16="http://schemas.microsoft.com/office/drawing/2014/main" id="{FBC8AB21-F324-4F4B-81F3-5AF557673DE3}"/>
                  </a:ext>
                </a:extLst>
              </p:cNvPr>
              <p:cNvSpPr/>
              <p:nvPr/>
            </p:nvSpPr>
            <p:spPr>
              <a:xfrm>
                <a:off x="3182926" y="5568619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9" name="Marcador de texto 31">
              <a:extLst>
                <a:ext uri="{FF2B5EF4-FFF2-40B4-BE49-F238E27FC236}">
                  <a16:creationId xmlns="" xmlns:a16="http://schemas.microsoft.com/office/drawing/2014/main" id="{7DE1759C-F38D-E240-A43A-7007F4782EAB}"/>
                </a:ext>
              </a:extLst>
            </p:cNvPr>
            <p:cNvSpPr txBox="1">
              <a:spLocks/>
            </p:cNvSpPr>
            <p:nvPr/>
          </p:nvSpPr>
          <p:spPr>
            <a:xfrm>
              <a:off x="4435694" y="3861897"/>
              <a:ext cx="45455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4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="" xmlns:a16="http://schemas.microsoft.com/office/drawing/2014/main" id="{6A2F2FEC-5014-D64C-AC34-4D0327890528}"/>
                </a:ext>
              </a:extLst>
            </p:cNvPr>
            <p:cNvSpPr/>
            <p:nvPr/>
          </p:nvSpPr>
          <p:spPr>
            <a:xfrm>
              <a:off x="5180854" y="3856099"/>
              <a:ext cx="2734208" cy="692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Casaca con refuerzo en hombros, de color vistoso               que contraste con el bosque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="" xmlns:a16="http://schemas.microsoft.com/office/drawing/2014/main" id="{951FC0C5-D0CC-C04E-955E-FA7745F7F54C}"/>
              </a:ext>
            </a:extLst>
          </p:cNvPr>
          <p:cNvGrpSpPr/>
          <p:nvPr/>
        </p:nvGrpSpPr>
        <p:grpSpPr>
          <a:xfrm>
            <a:off x="4310645" y="3822985"/>
            <a:ext cx="3572298" cy="755195"/>
            <a:chOff x="415112" y="3815275"/>
            <a:chExt cx="3572298" cy="755195"/>
          </a:xfrm>
        </p:grpSpPr>
        <p:grpSp>
          <p:nvGrpSpPr>
            <p:cNvPr id="104" name="Group 103">
              <a:extLst>
                <a:ext uri="{FF2B5EF4-FFF2-40B4-BE49-F238E27FC236}">
                  <a16:creationId xmlns="" xmlns:a16="http://schemas.microsoft.com/office/drawing/2014/main" id="{C92054D9-F521-D645-B671-0754D2629D19}"/>
                </a:ext>
              </a:extLst>
            </p:cNvPr>
            <p:cNvGrpSpPr/>
            <p:nvPr/>
          </p:nvGrpSpPr>
          <p:grpSpPr>
            <a:xfrm>
              <a:off x="415112" y="3815275"/>
              <a:ext cx="3572298" cy="755195"/>
              <a:chOff x="3182926" y="5568619"/>
              <a:chExt cx="3572298" cy="755195"/>
            </a:xfrm>
          </p:grpSpPr>
          <p:sp>
            <p:nvSpPr>
              <p:cNvPr id="107" name="Google Shape;1428;p39">
                <a:extLst>
                  <a:ext uri="{FF2B5EF4-FFF2-40B4-BE49-F238E27FC236}">
                    <a16:creationId xmlns="" xmlns:a16="http://schemas.microsoft.com/office/drawing/2014/main" id="{A4950F9B-C2D8-274B-828F-CB29DCF3D1C7}"/>
                  </a:ext>
                </a:extLst>
              </p:cNvPr>
              <p:cNvSpPr/>
              <p:nvPr/>
            </p:nvSpPr>
            <p:spPr>
              <a:xfrm>
                <a:off x="3560523" y="5572333"/>
                <a:ext cx="319470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108" name="Google Shape;1431;p39">
                <a:extLst>
                  <a:ext uri="{FF2B5EF4-FFF2-40B4-BE49-F238E27FC236}">
                    <a16:creationId xmlns="" xmlns:a16="http://schemas.microsoft.com/office/drawing/2014/main" id="{1D2FD32D-9185-0944-828A-01668567AF70}"/>
                  </a:ext>
                </a:extLst>
              </p:cNvPr>
              <p:cNvSpPr/>
              <p:nvPr/>
            </p:nvSpPr>
            <p:spPr>
              <a:xfrm>
                <a:off x="3182926" y="5568619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5" name="Marcador de texto 31">
              <a:extLst>
                <a:ext uri="{FF2B5EF4-FFF2-40B4-BE49-F238E27FC236}">
                  <a16:creationId xmlns="" xmlns:a16="http://schemas.microsoft.com/office/drawing/2014/main" id="{E8544E03-346F-9F42-B06E-237368822EED}"/>
                </a:ext>
              </a:extLst>
            </p:cNvPr>
            <p:cNvSpPr txBox="1">
              <a:spLocks/>
            </p:cNvSpPr>
            <p:nvPr/>
          </p:nvSpPr>
          <p:spPr>
            <a:xfrm>
              <a:off x="555037" y="3861896"/>
              <a:ext cx="45455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5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="" xmlns:a16="http://schemas.microsoft.com/office/drawing/2014/main" id="{DCA24E7A-C5AE-0046-877D-FFB20C467984}"/>
                </a:ext>
              </a:extLst>
            </p:cNvPr>
            <p:cNvSpPr/>
            <p:nvPr/>
          </p:nvSpPr>
          <p:spPr>
            <a:xfrm>
              <a:off x="1307734" y="4049525"/>
              <a:ext cx="1566454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Traje para el agua</a:t>
              </a:r>
            </a:p>
          </p:txBody>
        </p:sp>
      </p:grpSp>
      <p:cxnSp>
        <p:nvCxnSpPr>
          <p:cNvPr id="96" name="Conector recto 6">
            <a:extLst>
              <a:ext uri="{FF2B5EF4-FFF2-40B4-BE49-F238E27FC236}">
                <a16:creationId xmlns="" xmlns:a16="http://schemas.microsoft.com/office/drawing/2014/main" id="{4E25AEF3-68D0-BF4B-A564-628D12D4B25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</a:rPr>
              <a:t>Equipos de protección personal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94668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0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10BB6A1C-C9F3-484E-9536-A7947B0E284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2582" y="455951"/>
            <a:ext cx="527037" cy="52703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1A958A86-14C3-374B-A11E-AEE6A66BE945}"/>
              </a:ext>
            </a:extLst>
          </p:cNvPr>
          <p:cNvGrpSpPr/>
          <p:nvPr/>
        </p:nvGrpSpPr>
        <p:grpSpPr>
          <a:xfrm>
            <a:off x="4339177" y="2279821"/>
            <a:ext cx="3572298" cy="755195"/>
            <a:chOff x="3182926" y="5568619"/>
            <a:chExt cx="3572298" cy="755195"/>
          </a:xfrm>
        </p:grpSpPr>
        <p:sp>
          <p:nvSpPr>
            <p:cNvPr id="80" name="Google Shape;1428;p39">
              <a:extLst>
                <a:ext uri="{FF2B5EF4-FFF2-40B4-BE49-F238E27FC236}">
                  <a16:creationId xmlns="" xmlns:a16="http://schemas.microsoft.com/office/drawing/2014/main" id="{DA3A2C09-9F8F-BB43-91E0-59CBF9F3FFF4}"/>
                </a:ext>
              </a:extLst>
            </p:cNvPr>
            <p:cNvSpPr/>
            <p:nvPr/>
          </p:nvSpPr>
          <p:spPr>
            <a:xfrm>
              <a:off x="3560523" y="5572333"/>
              <a:ext cx="3194701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81" name="Google Shape;1431;p39">
              <a:extLst>
                <a:ext uri="{FF2B5EF4-FFF2-40B4-BE49-F238E27FC236}">
                  <a16:creationId xmlns="" xmlns:a16="http://schemas.microsoft.com/office/drawing/2014/main" id="{0C5D10F9-EB12-D04A-869B-31390C0D12F8}"/>
                </a:ext>
              </a:extLst>
            </p:cNvPr>
            <p:cNvSpPr/>
            <p:nvPr/>
          </p:nvSpPr>
          <p:spPr>
            <a:xfrm>
              <a:off x="3182926" y="5568619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BA68C63C-CF6B-B644-B042-D0D5DF644254}"/>
              </a:ext>
            </a:extLst>
          </p:cNvPr>
          <p:cNvGrpSpPr/>
          <p:nvPr/>
        </p:nvGrpSpPr>
        <p:grpSpPr>
          <a:xfrm>
            <a:off x="8206178" y="2279523"/>
            <a:ext cx="3572298" cy="755195"/>
            <a:chOff x="3182926" y="5568619"/>
            <a:chExt cx="3572298" cy="755195"/>
          </a:xfrm>
        </p:grpSpPr>
        <p:sp>
          <p:nvSpPr>
            <p:cNvPr id="83" name="Google Shape;1428;p39">
              <a:extLst>
                <a:ext uri="{FF2B5EF4-FFF2-40B4-BE49-F238E27FC236}">
                  <a16:creationId xmlns="" xmlns:a16="http://schemas.microsoft.com/office/drawing/2014/main" id="{66D84B09-632A-2142-9E0F-3EFD8A446C33}"/>
                </a:ext>
              </a:extLst>
            </p:cNvPr>
            <p:cNvSpPr/>
            <p:nvPr/>
          </p:nvSpPr>
          <p:spPr>
            <a:xfrm>
              <a:off x="3560523" y="5572333"/>
              <a:ext cx="3194701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84" name="Google Shape;1431;p39">
              <a:extLst>
                <a:ext uri="{FF2B5EF4-FFF2-40B4-BE49-F238E27FC236}">
                  <a16:creationId xmlns="" xmlns:a16="http://schemas.microsoft.com/office/drawing/2014/main" id="{DA46902B-6E94-3446-B5CB-A950C78D3FF2}"/>
                </a:ext>
              </a:extLst>
            </p:cNvPr>
            <p:cNvSpPr/>
            <p:nvPr/>
          </p:nvSpPr>
          <p:spPr>
            <a:xfrm>
              <a:off x="3182926" y="5568619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34DB23DF-4009-A14D-920B-4BC05CDA4C01}"/>
              </a:ext>
            </a:extLst>
          </p:cNvPr>
          <p:cNvGrpSpPr/>
          <p:nvPr/>
        </p:nvGrpSpPr>
        <p:grpSpPr>
          <a:xfrm>
            <a:off x="8206178" y="3815274"/>
            <a:ext cx="3572298" cy="755195"/>
            <a:chOff x="3182926" y="5568619"/>
            <a:chExt cx="3572298" cy="755195"/>
          </a:xfrm>
        </p:grpSpPr>
        <p:sp>
          <p:nvSpPr>
            <p:cNvPr id="89" name="Google Shape;1428;p39">
              <a:extLst>
                <a:ext uri="{FF2B5EF4-FFF2-40B4-BE49-F238E27FC236}">
                  <a16:creationId xmlns="" xmlns:a16="http://schemas.microsoft.com/office/drawing/2014/main" id="{6FC00B0F-B6FC-E048-B169-600D87174D7E}"/>
                </a:ext>
              </a:extLst>
            </p:cNvPr>
            <p:cNvSpPr/>
            <p:nvPr/>
          </p:nvSpPr>
          <p:spPr>
            <a:xfrm>
              <a:off x="3560523" y="5572333"/>
              <a:ext cx="3194701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90" name="Google Shape;1431;p39">
              <a:extLst>
                <a:ext uri="{FF2B5EF4-FFF2-40B4-BE49-F238E27FC236}">
                  <a16:creationId xmlns="" xmlns:a16="http://schemas.microsoft.com/office/drawing/2014/main" id="{B8BB5A0B-8E0C-BC41-A4D7-5C233DF6BA6D}"/>
                </a:ext>
              </a:extLst>
            </p:cNvPr>
            <p:cNvSpPr/>
            <p:nvPr/>
          </p:nvSpPr>
          <p:spPr>
            <a:xfrm>
              <a:off x="3182926" y="5568619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1202891" y="2898975"/>
            <a:ext cx="2580842" cy="48696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24" kern="0" dirty="0">
                <a:solidFill>
                  <a:schemeClr val="bg1"/>
                </a:solidFill>
              </a:rPr>
              <a:t>Casco de seguridad 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24" kern="0" dirty="0">
                <a:solidFill>
                  <a:schemeClr val="bg1"/>
                </a:solidFill>
              </a:rPr>
              <a:t>con barbiquejo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24" kern="0" dirty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24" kern="0" dirty="0">
              <a:solidFill>
                <a:schemeClr val="bg1"/>
              </a:solidFill>
            </a:endParaRPr>
          </a:p>
        </p:txBody>
      </p:sp>
      <p:sp>
        <p:nvSpPr>
          <p:cNvPr id="33" name="Google Shape;1428;p39">
            <a:extLst>
              <a:ext uri="{FF2B5EF4-FFF2-40B4-BE49-F238E27FC236}">
                <a16:creationId xmlns="" xmlns:a16="http://schemas.microsoft.com/office/drawing/2014/main" id="{54202CE4-84BB-ED40-85AA-C1B7620A8BE2}"/>
              </a:ext>
            </a:extLst>
          </p:cNvPr>
          <p:cNvSpPr/>
          <p:nvPr/>
        </p:nvSpPr>
        <p:spPr>
          <a:xfrm>
            <a:off x="733459" y="2283237"/>
            <a:ext cx="3194701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34" name="Google Shape;1431;p39">
            <a:extLst>
              <a:ext uri="{FF2B5EF4-FFF2-40B4-BE49-F238E27FC236}">
                <a16:creationId xmlns="" xmlns:a16="http://schemas.microsoft.com/office/drawing/2014/main" id="{11FD8828-B72A-3440-806D-CF1B6301492B}"/>
              </a:ext>
            </a:extLst>
          </p:cNvPr>
          <p:cNvSpPr/>
          <p:nvPr/>
        </p:nvSpPr>
        <p:spPr>
          <a:xfrm>
            <a:off x="430116" y="2279821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604953" y="2312005"/>
            <a:ext cx="274316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1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BC324F7B-9126-2347-BE30-32F5F95BA5BE}"/>
              </a:ext>
            </a:extLst>
          </p:cNvPr>
          <p:cNvSpPr/>
          <p:nvPr/>
        </p:nvSpPr>
        <p:spPr>
          <a:xfrm>
            <a:off x="1269217" y="2430745"/>
            <a:ext cx="211308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4B54"/>
              </a:buClr>
              <a:buSzPct val="100000"/>
            </a:pPr>
            <a:r>
              <a:rPr lang="es-CL" sz="1300" kern="0" dirty="0">
                <a:solidFill>
                  <a:srgbClr val="15C047"/>
                </a:solidFill>
                <a:latin typeface="ACHS Nueva Sans Medium" pitchFamily="2" charset="77"/>
              </a:rPr>
              <a:t>Casco de seguridad </a:t>
            </a:r>
          </a:p>
          <a:p>
            <a:pPr>
              <a:buClr>
                <a:srgbClr val="004B54"/>
              </a:buClr>
              <a:buSzPct val="100000"/>
            </a:pPr>
            <a:r>
              <a:rPr lang="es-CL" sz="1300" kern="0" dirty="0">
                <a:solidFill>
                  <a:srgbClr val="15C047"/>
                </a:solidFill>
                <a:latin typeface="ACHS Nueva Sans Medium" pitchFamily="2" charset="77"/>
              </a:rPr>
              <a:t>con barbiquejo</a:t>
            </a:r>
          </a:p>
        </p:txBody>
      </p:sp>
      <p:sp>
        <p:nvSpPr>
          <p:cNvPr id="61" name="Marcador de texto 31">
            <a:extLst>
              <a:ext uri="{FF2B5EF4-FFF2-40B4-BE49-F238E27FC236}">
                <a16:creationId xmlns="" xmlns:a16="http://schemas.microsoft.com/office/drawing/2014/main" id="{CBE06409-8D79-8B44-9873-BBD00E07E04C}"/>
              </a:ext>
            </a:extLst>
          </p:cNvPr>
          <p:cNvSpPr txBox="1">
            <a:spLocks/>
          </p:cNvSpPr>
          <p:nvPr/>
        </p:nvSpPr>
        <p:spPr>
          <a:xfrm>
            <a:off x="4456225" y="2335659"/>
            <a:ext cx="45455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2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869F3EF5-550E-664E-837E-85FF56A99278}"/>
              </a:ext>
            </a:extLst>
          </p:cNvPr>
          <p:cNvSpPr/>
          <p:nvPr/>
        </p:nvSpPr>
        <p:spPr>
          <a:xfrm>
            <a:off x="5179363" y="2430744"/>
            <a:ext cx="273420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4B54"/>
              </a:buClr>
              <a:buSzPct val="100000"/>
            </a:pPr>
            <a:r>
              <a:rPr lang="es-CL" sz="1300" kern="0" dirty="0">
                <a:solidFill>
                  <a:srgbClr val="15C047"/>
                </a:solidFill>
                <a:latin typeface="ACHS Nueva Sans Medium" pitchFamily="2" charset="77"/>
              </a:rPr>
              <a:t>Guantes de cuero reforzados        en el palmar</a:t>
            </a:r>
          </a:p>
        </p:txBody>
      </p:sp>
      <p:sp>
        <p:nvSpPr>
          <p:cNvPr id="65" name="Marcador de texto 31">
            <a:extLst>
              <a:ext uri="{FF2B5EF4-FFF2-40B4-BE49-F238E27FC236}">
                <a16:creationId xmlns="" xmlns:a16="http://schemas.microsoft.com/office/drawing/2014/main" id="{7442E364-2CD0-2445-BA69-704C2E3AA8A4}"/>
              </a:ext>
            </a:extLst>
          </p:cNvPr>
          <p:cNvSpPr txBox="1">
            <a:spLocks/>
          </p:cNvSpPr>
          <p:nvPr/>
        </p:nvSpPr>
        <p:spPr>
          <a:xfrm>
            <a:off x="8326148" y="2335658"/>
            <a:ext cx="45455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3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79F23379-FCA4-9B42-AC2F-E891E05C589B}"/>
              </a:ext>
            </a:extLst>
          </p:cNvPr>
          <p:cNvSpPr/>
          <p:nvPr/>
        </p:nvSpPr>
        <p:spPr>
          <a:xfrm>
            <a:off x="9054576" y="2430744"/>
            <a:ext cx="234396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4B54"/>
              </a:buClr>
              <a:buSzPct val="100000"/>
            </a:pPr>
            <a:r>
              <a:rPr lang="es-CL" sz="1300" kern="0" dirty="0">
                <a:solidFill>
                  <a:srgbClr val="15C047"/>
                </a:solidFill>
                <a:latin typeface="ACHS Nueva Sans Medium" pitchFamily="2" charset="77"/>
              </a:rPr>
              <a:t>Botas de cuero o goma, con puntera de acero y clavos</a:t>
            </a:r>
          </a:p>
        </p:txBody>
      </p:sp>
      <p:sp>
        <p:nvSpPr>
          <p:cNvPr id="78" name="Marcador de texto 31">
            <a:extLst>
              <a:ext uri="{FF2B5EF4-FFF2-40B4-BE49-F238E27FC236}">
                <a16:creationId xmlns="" xmlns:a16="http://schemas.microsoft.com/office/drawing/2014/main" id="{61BE14C9-8B2F-7C4D-98FE-38F6C15C8D68}"/>
              </a:ext>
            </a:extLst>
          </p:cNvPr>
          <p:cNvSpPr txBox="1">
            <a:spLocks/>
          </p:cNvSpPr>
          <p:nvPr/>
        </p:nvSpPr>
        <p:spPr>
          <a:xfrm>
            <a:off x="8290951" y="3861898"/>
            <a:ext cx="45455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6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05C2B02A-2A8D-D645-9A00-7F9242A7AC7F}"/>
              </a:ext>
            </a:extLst>
          </p:cNvPr>
          <p:cNvSpPr/>
          <p:nvPr/>
        </p:nvSpPr>
        <p:spPr>
          <a:xfrm>
            <a:off x="9068714" y="3962461"/>
            <a:ext cx="249865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4B54"/>
              </a:buClr>
              <a:buSzPct val="100000"/>
            </a:pPr>
            <a:r>
              <a:rPr lang="es-CL" sz="1300" kern="0" dirty="0">
                <a:solidFill>
                  <a:srgbClr val="15C047"/>
                </a:solidFill>
                <a:latin typeface="ACHS Nueva Sans Medium" pitchFamily="2" charset="77"/>
              </a:rPr>
              <a:t>Protección visual con UV y/o malla de protección facial</a:t>
            </a:r>
          </a:p>
        </p:txBody>
      </p:sp>
      <p:pic>
        <p:nvPicPr>
          <p:cNvPr id="95" name="Imagen 5">
            <a:extLst>
              <a:ext uri="{FF2B5EF4-FFF2-40B4-BE49-F238E27FC236}">
                <a16:creationId xmlns="" xmlns:a16="http://schemas.microsoft.com/office/drawing/2014/main" id="{828BAC33-4F04-A647-B951-412CFEDC58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5721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4309986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3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3400362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Situaciones de peligro</a:t>
            </a:r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613014"/>
              </p:ext>
            </p:extLst>
          </p:nvPr>
        </p:nvGraphicFramePr>
        <p:xfrm>
          <a:off x="1378556" y="1289334"/>
          <a:ext cx="9657842" cy="515714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8289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289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39753">
                <a:tc>
                  <a:txBody>
                    <a:bodyPr/>
                    <a:lstStyle/>
                    <a:p>
                      <a:r>
                        <a:rPr lang="es-CL" sz="1600" b="0" i="0" dirty="0">
                          <a:latin typeface="ACHS Nueva Serif" pitchFamily="2" charset="77"/>
                        </a:rPr>
                        <a:t>SITUACIÓN DE PELIGRO</a:t>
                      </a:r>
                    </a:p>
                  </a:txBody>
                  <a:tcPr marL="69669" marR="69669" marT="34834" marB="34834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L" sz="1600" b="0" i="0" dirty="0">
                          <a:latin typeface="ACHS Nueva Serif" pitchFamily="2" charset="77"/>
                        </a:rPr>
                        <a:t>INCIDENTE</a:t>
                      </a:r>
                    </a:p>
                  </a:txBody>
                  <a:tcPr marL="69669" marR="69669" marT="34834" marB="34834" anchor="ctr">
                    <a:solidFill>
                      <a:srgbClr val="15C04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No uso de protección visual en estrobado y corte                    de cable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ramas.</a:t>
                      </a:r>
                    </a:p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Proyección de esquirlas de cable a los ojos y cara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Desplazarse cercano a la línea de madereo.</a:t>
                      </a: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fuste, cable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Estrobos tensionados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 por estrobo y rama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Beber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agua de cursos de agua en el bosque </a:t>
                      </a:r>
                      <a:r>
                        <a:rPr lang="es-CL" sz="1400" b="0" i="0" baseline="0" dirty="0" smtClean="0">
                          <a:latin typeface="ACHS Nueva Sans Medium" pitchFamily="2" charset="77"/>
                        </a:rPr>
                        <a:t>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Exposición a agente biológico (virus hanta)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Ubicarse pendiente abajo a menos de la distancia de seguridad definida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árbole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Estrobar cercano a zona de volteo.</a:t>
                      </a: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árbol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Sobrecargar equipo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proyección de cables y estrob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Cables y estrobos con hebras cortadas.</a:t>
                      </a: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Contacto con objetos punzantes en las man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Estrobar o circular pendiente debajo de cancha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con máquinas operando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proyección de desech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Estrobar cercano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a bosque con viento fuerte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árboles y rama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8" name="Imagen 5">
            <a:extLst>
              <a:ext uri="{FF2B5EF4-FFF2-40B4-BE49-F238E27FC236}">
                <a16:creationId xmlns="" xmlns:a16="http://schemas.microsoft.com/office/drawing/2014/main" id="{3BCEE83D-1C96-7D44-9B4A-317025AA63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9" name="Conector recto 6">
            <a:extLst>
              <a:ext uri="{FF2B5EF4-FFF2-40B4-BE49-F238E27FC236}">
                <a16:creationId xmlns="" xmlns:a16="http://schemas.microsoft.com/office/drawing/2014/main" id="{C6E95CA5-BB25-304C-9E89-080A0C94B64C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86557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DESIGN_ID_1_TEMA DE OFFICE" val="ePMEBW67"/>
  <p:tag name="ARTICULATE_SLIDE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e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6D8931-DC0D-40CC-BC2A-F5328FC155F1}">
  <ds:schemaRefs>
    <ds:schemaRef ds:uri="http://purl.org/dc/elements/1.1/"/>
    <ds:schemaRef ds:uri="c16ff6dc-b593-43ff-bcca-b847aaf00eec"/>
    <ds:schemaRef ds:uri="http://purl.org/dc/terms/"/>
    <ds:schemaRef ds:uri="http://schemas.microsoft.com/office/infopath/2007/PartnerControls"/>
    <ds:schemaRef ds:uri="76aaf195-cc62-486d-835e-a1a076b740bc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A93172B-BD61-4AA6-AC83-20D67641270A}"/>
</file>

<file path=customXml/itemProps3.xml><?xml version="1.0" encoding="utf-8"?>
<ds:datastoreItem xmlns:ds="http://schemas.openxmlformats.org/officeDocument/2006/customXml" ds:itemID="{D4E94521-6097-4424-AA83-67EC00D205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150</TotalTime>
  <Words>1655</Words>
  <Application>Microsoft Office PowerPoint</Application>
  <PresentationFormat>Personalizado</PresentationFormat>
  <Paragraphs>394</Paragraphs>
  <Slides>28</Slides>
  <Notes>25</Notes>
  <HiddenSlides>0</HiddenSlides>
  <MMClips>0</MMClips>
  <ScaleCrop>false</ScaleCrop>
  <HeadingPairs>
    <vt:vector size="8" baseType="variant">
      <vt:variant>
        <vt:lpstr>Fuentes usadas</vt:lpstr>
      </vt:variant>
      <vt:variant>
        <vt:i4>18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52" baseType="lpstr">
      <vt:lpstr>.Lucida Grande UI Regular</vt:lpstr>
      <vt:lpstr>ACHS Nueva Sans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</vt:lpstr>
      <vt:lpstr>Helvetica Neue</vt:lpstr>
      <vt:lpstr>Helvetica Neue Medium</vt:lpstr>
      <vt:lpstr>Symbol</vt:lpstr>
      <vt:lpstr>Times New Roman</vt:lpstr>
      <vt:lpstr>Tipo de letra del sistema regular</vt:lpstr>
      <vt:lpstr>Tw Cen MT</vt:lpstr>
      <vt:lpstr>Wingdings</vt:lpstr>
      <vt:lpstr>Quieta</vt:lpstr>
      <vt:lpstr>1_Tema de Office</vt:lpstr>
      <vt:lpstr>1_Custom Design</vt:lpstr>
      <vt:lpstr>2_Tema de Office</vt:lpstr>
      <vt:lpstr>Portadas y cierres_Achs Seguro Laboral</vt:lpstr>
      <vt:lpstr>Diapositiva de think-cell</vt:lpstr>
      <vt:lpstr>Presentación de PowerPoint</vt:lpstr>
      <vt:lpstr>Presentación de PowerPoint</vt:lpstr>
      <vt:lpstr>Introducción: Definiciones</vt:lpstr>
      <vt:lpstr>Introducción: Definiciones</vt:lpstr>
      <vt:lpstr>Presentación de PowerPoint</vt:lpstr>
      <vt:lpstr>Presentación de PowerPoint</vt:lpstr>
      <vt:lpstr>Presentación de PowerPoint</vt:lpstr>
      <vt:lpstr>Equipos de protección personal</vt:lpstr>
      <vt:lpstr>Situaciones de peligro</vt:lpstr>
      <vt:lpstr>Técnicas de estrobado</vt:lpstr>
      <vt:lpstr>Técnicas de estrobado</vt:lpstr>
      <vt:lpstr>Técnicas de estrobado</vt:lpstr>
      <vt:lpstr>Técnicas de estrobado auxiliares</vt:lpstr>
      <vt:lpstr>Técnicas de estrobado auxiliares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slie</dc:creator>
  <cp:lastModifiedBy>Saldaño Carreño, Carlos Antonio</cp:lastModifiedBy>
  <cp:revision>570</cp:revision>
  <dcterms:created xsi:type="dcterms:W3CDTF">2018-04-16T12:09:27Z</dcterms:created>
  <dcterms:modified xsi:type="dcterms:W3CDTF">2025-02-16T12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E4E1FDFF-FDC3-4291-93AB-9F5C3818D478</vt:lpwstr>
  </property>
  <property fmtid="{D5CDD505-2E9C-101B-9397-08002B2CF9AE}" pid="4" name="ArticulatePath">
    <vt:lpwstr>Charla_AM_Estrobero_de_torrre_de_madereo</vt:lpwstr>
  </property>
</Properties>
</file>